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12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18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  <p:sldMasterId id="2147483749" r:id="rId5"/>
    <p:sldMasterId id="2147483762" r:id="rId6"/>
  </p:sldMasterIdLst>
  <p:notesMasterIdLst>
    <p:notesMasterId r:id="rId78"/>
  </p:notesMasterIdLst>
  <p:handoutMasterIdLst>
    <p:handoutMasterId r:id="rId79"/>
  </p:handoutMasterIdLst>
  <p:sldIdLst>
    <p:sldId id="412" r:id="rId7"/>
    <p:sldId id="286" r:id="rId8"/>
    <p:sldId id="265" r:id="rId9"/>
    <p:sldId id="528" r:id="rId10"/>
    <p:sldId id="526" r:id="rId11"/>
    <p:sldId id="260" r:id="rId12"/>
    <p:sldId id="460" r:id="rId13"/>
    <p:sldId id="461" r:id="rId14"/>
    <p:sldId id="462" r:id="rId15"/>
    <p:sldId id="463" r:id="rId16"/>
    <p:sldId id="455" r:id="rId17"/>
    <p:sldId id="471" r:id="rId18"/>
    <p:sldId id="465" r:id="rId19"/>
    <p:sldId id="467" r:id="rId20"/>
    <p:sldId id="468" r:id="rId21"/>
    <p:sldId id="469" r:id="rId22"/>
    <p:sldId id="470" r:id="rId23"/>
    <p:sldId id="473" r:id="rId24"/>
    <p:sldId id="476" r:id="rId25"/>
    <p:sldId id="477" r:id="rId26"/>
    <p:sldId id="478" r:id="rId27"/>
    <p:sldId id="466" r:id="rId28"/>
    <p:sldId id="456" r:id="rId29"/>
    <p:sldId id="479" r:id="rId30"/>
    <p:sldId id="480" r:id="rId31"/>
    <p:sldId id="482" r:id="rId32"/>
    <p:sldId id="481" r:id="rId33"/>
    <p:sldId id="485" r:id="rId34"/>
    <p:sldId id="486" r:id="rId35"/>
    <p:sldId id="490" r:id="rId36"/>
    <p:sldId id="484" r:id="rId37"/>
    <p:sldId id="483" r:id="rId38"/>
    <p:sldId id="487" r:id="rId39"/>
    <p:sldId id="491" r:id="rId40"/>
    <p:sldId id="493" r:id="rId41"/>
    <p:sldId id="494" r:id="rId42"/>
    <p:sldId id="495" r:id="rId43"/>
    <p:sldId id="496" r:id="rId44"/>
    <p:sldId id="457" r:id="rId45"/>
    <p:sldId id="497" r:id="rId46"/>
    <p:sldId id="498" r:id="rId47"/>
    <p:sldId id="502" r:id="rId48"/>
    <p:sldId id="499" r:id="rId49"/>
    <p:sldId id="503" r:id="rId50"/>
    <p:sldId id="505" r:id="rId51"/>
    <p:sldId id="500" r:id="rId52"/>
    <p:sldId id="501" r:id="rId53"/>
    <p:sldId id="525" r:id="rId54"/>
    <p:sldId id="504" r:id="rId55"/>
    <p:sldId id="506" r:id="rId56"/>
    <p:sldId id="507" r:id="rId57"/>
    <p:sldId id="509" r:id="rId58"/>
    <p:sldId id="524" r:id="rId59"/>
    <p:sldId id="459" r:id="rId60"/>
    <p:sldId id="510" r:id="rId61"/>
    <p:sldId id="511" r:id="rId62"/>
    <p:sldId id="513" r:id="rId63"/>
    <p:sldId id="514" r:id="rId64"/>
    <p:sldId id="512" r:id="rId65"/>
    <p:sldId id="515" r:id="rId66"/>
    <p:sldId id="522" r:id="rId67"/>
    <p:sldId id="464" r:id="rId68"/>
    <p:sldId id="517" r:id="rId69"/>
    <p:sldId id="518" r:id="rId70"/>
    <p:sldId id="519" r:id="rId71"/>
    <p:sldId id="520" r:id="rId72"/>
    <p:sldId id="382" r:id="rId73"/>
    <p:sldId id="521" r:id="rId74"/>
    <p:sldId id="523" r:id="rId75"/>
    <p:sldId id="325" r:id="rId76"/>
    <p:sldId id="287" r:id="rId7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890E"/>
    <a:srgbClr val="033EC1"/>
    <a:srgbClr val="BDD7EE"/>
    <a:srgbClr val="014185"/>
    <a:srgbClr val="002060"/>
    <a:srgbClr val="216989"/>
    <a:srgbClr val="DD5A1F"/>
    <a:srgbClr val="4472C4"/>
    <a:srgbClr val="1C69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FFFCFA-D4FF-4BF2-A15F-857B5C7E4031}" v="1778" dt="2025-10-04T13:35:35.6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2" autoAdjust="0"/>
    <p:restoredTop sz="95172" autoAdjust="0"/>
  </p:normalViewPr>
  <p:slideViewPr>
    <p:cSldViewPr snapToGrid="0" snapToObjects="1">
      <p:cViewPr>
        <p:scale>
          <a:sx n="100" d="100"/>
          <a:sy n="100" d="100"/>
        </p:scale>
        <p:origin x="690" y="51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268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microsoft.com/office/2016/11/relationships/changesInfo" Target="changesInfos/changesInfo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presProps" Target="presProps.xml"/><Relationship Id="rId85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61" Type="http://schemas.openxmlformats.org/officeDocument/2006/relationships/slide" Target="slides/slide55.xml"/><Relationship Id="rId8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F4A71957-DA7B-414F-B0AC-46DE150A249C}"/>
    <pc:docChg chg="undo custSel addSld delSld modSld">
      <pc:chgData name="Koen Verbeeck" userId="24d0e79a7fd977da" providerId="LiveId" clId="{F4A71957-DA7B-414F-B0AC-46DE150A249C}" dt="2025-10-04T13:37:49.597" v="155" actId="1076"/>
      <pc:docMkLst>
        <pc:docMk/>
      </pc:docMkLst>
      <pc:sldChg chg="addSp modSp del mod">
        <pc:chgData name="Koen Verbeeck" userId="24d0e79a7fd977da" providerId="LiveId" clId="{F4A71957-DA7B-414F-B0AC-46DE150A249C}" dt="2025-09-16T12:27:29.357" v="68" actId="47"/>
        <pc:sldMkLst>
          <pc:docMk/>
          <pc:sldMk cId="385104750" sldId="259"/>
        </pc:sldMkLst>
      </pc:sldChg>
      <pc:sldChg chg="add">
        <pc:chgData name="Koen Verbeeck" userId="24d0e79a7fd977da" providerId="LiveId" clId="{F4A71957-DA7B-414F-B0AC-46DE150A249C}" dt="2025-10-04T13:27:45.809" v="81"/>
        <pc:sldMkLst>
          <pc:docMk/>
          <pc:sldMk cId="1993828845" sldId="286"/>
        </pc:sldMkLst>
      </pc:sldChg>
      <pc:sldChg chg="modSp mod">
        <pc:chgData name="Koen Verbeeck" userId="24d0e79a7fd977da" providerId="LiveId" clId="{F4A71957-DA7B-414F-B0AC-46DE150A249C}" dt="2025-10-04T13:37:49.597" v="155" actId="1076"/>
        <pc:sldMkLst>
          <pc:docMk/>
          <pc:sldMk cId="3682278545" sldId="287"/>
        </pc:sldMkLst>
        <pc:spChg chg="mod">
          <ac:chgData name="Koen Verbeeck" userId="24d0e79a7fd977da" providerId="LiveId" clId="{F4A71957-DA7B-414F-B0AC-46DE150A249C}" dt="2025-10-04T13:37:49.597" v="155" actId="1076"/>
          <ac:spMkLst>
            <pc:docMk/>
            <pc:sldMk cId="3682278545" sldId="287"/>
            <ac:spMk id="7" creationId="{67028A06-C8FF-8437-6D15-1A5910BBB805}"/>
          </ac:spMkLst>
        </pc:spChg>
      </pc:sldChg>
      <pc:sldChg chg="modSp mod">
        <pc:chgData name="Koen Verbeeck" userId="24d0e79a7fd977da" providerId="LiveId" clId="{F4A71957-DA7B-414F-B0AC-46DE150A249C}" dt="2025-09-16T12:37:33.645" v="76" actId="20577"/>
        <pc:sldMkLst>
          <pc:docMk/>
          <pc:sldMk cId="3653784883" sldId="469"/>
        </pc:sldMkLst>
        <pc:spChg chg="mod">
          <ac:chgData name="Koen Verbeeck" userId="24d0e79a7fd977da" providerId="LiveId" clId="{F4A71957-DA7B-414F-B0AC-46DE150A249C}" dt="2025-09-16T12:37:33.645" v="76" actId="20577"/>
          <ac:spMkLst>
            <pc:docMk/>
            <pc:sldMk cId="3653784883" sldId="469"/>
            <ac:spMk id="2" creationId="{6BD19CA9-10E3-1802-F3C3-4D6AB6C08F18}"/>
          </ac:spMkLst>
        </pc:spChg>
      </pc:sldChg>
      <pc:sldChg chg="modSp mod">
        <pc:chgData name="Koen Verbeeck" userId="24d0e79a7fd977da" providerId="LiveId" clId="{F4A71957-DA7B-414F-B0AC-46DE150A249C}" dt="2025-09-16T12:37:30.437" v="74" actId="20577"/>
        <pc:sldMkLst>
          <pc:docMk/>
          <pc:sldMk cId="2181105837" sldId="470"/>
        </pc:sldMkLst>
        <pc:spChg chg="mod">
          <ac:chgData name="Koen Verbeeck" userId="24d0e79a7fd977da" providerId="LiveId" clId="{F4A71957-DA7B-414F-B0AC-46DE150A249C}" dt="2025-09-16T12:37:30.437" v="74" actId="20577"/>
          <ac:spMkLst>
            <pc:docMk/>
            <pc:sldMk cId="2181105837" sldId="470"/>
            <ac:spMk id="2" creationId="{01751AE2-C1A7-D138-FE25-CF4E9DFB27B5}"/>
          </ac:spMkLst>
        </pc:spChg>
      </pc:sldChg>
      <pc:sldChg chg="mod modShow">
        <pc:chgData name="Koen Verbeeck" userId="24d0e79a7fd977da" providerId="LiveId" clId="{F4A71957-DA7B-414F-B0AC-46DE150A249C}" dt="2025-10-04T13:37:00.889" v="154" actId="729"/>
        <pc:sldMkLst>
          <pc:docMk/>
          <pc:sldMk cId="2133015318" sldId="503"/>
        </pc:sldMkLst>
      </pc:sldChg>
      <pc:sldChg chg="addSp del">
        <pc:chgData name="Koen Verbeeck" userId="24d0e79a7fd977da" providerId="LiveId" clId="{F4A71957-DA7B-414F-B0AC-46DE150A249C}" dt="2025-10-04T13:28:01.538" v="82" actId="47"/>
        <pc:sldMkLst>
          <pc:docMk/>
          <pc:sldMk cId="3471054296" sldId="508"/>
        </pc:sldMkLst>
        <pc:spChg chg="add">
          <ac:chgData name="Koen Verbeeck" userId="24d0e79a7fd977da" providerId="LiveId" clId="{F4A71957-DA7B-414F-B0AC-46DE150A249C}" dt="2025-10-04T13:27:31.764" v="79"/>
          <ac:spMkLst>
            <pc:docMk/>
            <pc:sldMk cId="3471054296" sldId="508"/>
            <ac:spMk id="4" creationId="{0D176B9A-144D-746F-56D7-E9A84D0763C7}"/>
          </ac:spMkLst>
        </pc:spChg>
        <pc:spChg chg="add">
          <ac:chgData name="Koen Verbeeck" userId="24d0e79a7fd977da" providerId="LiveId" clId="{F4A71957-DA7B-414F-B0AC-46DE150A249C}" dt="2025-10-04T13:27:35.354" v="80"/>
          <ac:spMkLst>
            <pc:docMk/>
            <pc:sldMk cId="3471054296" sldId="508"/>
            <ac:spMk id="5" creationId="{790170EA-522F-F244-CB85-1D7A6A133224}"/>
          </ac:spMkLst>
        </pc:spChg>
      </pc:sldChg>
      <pc:sldChg chg="modSp new mod modAnim">
        <pc:chgData name="Koen Verbeeck" userId="24d0e79a7fd977da" providerId="LiveId" clId="{F4A71957-DA7B-414F-B0AC-46DE150A249C}" dt="2025-09-16T12:27:26.122" v="67"/>
        <pc:sldMkLst>
          <pc:docMk/>
          <pc:sldMk cId="276544244" sldId="526"/>
        </pc:sldMkLst>
        <pc:spChg chg="mod">
          <ac:chgData name="Koen Verbeeck" userId="24d0e79a7fd977da" providerId="LiveId" clId="{F4A71957-DA7B-414F-B0AC-46DE150A249C}" dt="2025-09-16T12:26:45.570" v="60"/>
          <ac:spMkLst>
            <pc:docMk/>
            <pc:sldMk cId="276544244" sldId="526"/>
            <ac:spMk id="2" creationId="{508FA2E2-A4FB-6367-8BBF-D9DD778E9013}"/>
          </ac:spMkLst>
        </pc:spChg>
        <pc:spChg chg="mod">
          <ac:chgData name="Koen Verbeeck" userId="24d0e79a7fd977da" providerId="LiveId" clId="{F4A71957-DA7B-414F-B0AC-46DE150A249C}" dt="2025-09-16T12:26:16.420" v="44" actId="20577"/>
          <ac:spMkLst>
            <pc:docMk/>
            <pc:sldMk cId="276544244" sldId="526"/>
            <ac:spMk id="3" creationId="{FA84E87D-9821-D86A-F736-0ABD0C5FA560}"/>
          </ac:spMkLst>
        </pc:spChg>
        <pc:spChg chg="mod">
          <ac:chgData name="Koen Verbeeck" userId="24d0e79a7fd977da" providerId="LiveId" clId="{F4A71957-DA7B-414F-B0AC-46DE150A249C}" dt="2025-09-16T12:26:51.031" v="61"/>
          <ac:spMkLst>
            <pc:docMk/>
            <pc:sldMk cId="276544244" sldId="526"/>
            <ac:spMk id="4" creationId="{E8D9B72C-FE1C-899D-FF7F-1664F58A1938}"/>
          </ac:spMkLst>
        </pc:spChg>
        <pc:spChg chg="mod">
          <ac:chgData name="Koen Verbeeck" userId="24d0e79a7fd977da" providerId="LiveId" clId="{F4A71957-DA7B-414F-B0AC-46DE150A249C}" dt="2025-09-16T12:26:18.536" v="47" actId="20577"/>
          <ac:spMkLst>
            <pc:docMk/>
            <pc:sldMk cId="276544244" sldId="526"/>
            <ac:spMk id="5" creationId="{10BDFB22-4C38-62A5-FC03-609D4AAC097B}"/>
          </ac:spMkLst>
        </pc:spChg>
        <pc:spChg chg="mod">
          <ac:chgData name="Koen Verbeeck" userId="24d0e79a7fd977da" providerId="LiveId" clId="{F4A71957-DA7B-414F-B0AC-46DE150A249C}" dt="2025-09-16T12:26:57.237" v="62"/>
          <ac:spMkLst>
            <pc:docMk/>
            <pc:sldMk cId="276544244" sldId="526"/>
            <ac:spMk id="6" creationId="{AA794D7A-7DC9-EF4F-B903-7E28DC6FBF15}"/>
          </ac:spMkLst>
        </pc:spChg>
        <pc:spChg chg="mod">
          <ac:chgData name="Koen Verbeeck" userId="24d0e79a7fd977da" providerId="LiveId" clId="{F4A71957-DA7B-414F-B0AC-46DE150A249C}" dt="2025-09-16T12:26:20.274" v="50" actId="20577"/>
          <ac:spMkLst>
            <pc:docMk/>
            <pc:sldMk cId="276544244" sldId="526"/>
            <ac:spMk id="7" creationId="{0D24DFB7-9FB6-783B-8FD7-E1F2CE62CBDE}"/>
          </ac:spMkLst>
        </pc:spChg>
        <pc:spChg chg="mod">
          <ac:chgData name="Koen Verbeeck" userId="24d0e79a7fd977da" providerId="LiveId" clId="{F4A71957-DA7B-414F-B0AC-46DE150A249C}" dt="2025-09-16T12:27:03.638" v="63"/>
          <ac:spMkLst>
            <pc:docMk/>
            <pc:sldMk cId="276544244" sldId="526"/>
            <ac:spMk id="8" creationId="{B6DE0242-4264-F0DC-EFDC-5A2A81327595}"/>
          </ac:spMkLst>
        </pc:spChg>
        <pc:spChg chg="mod">
          <ac:chgData name="Koen Verbeeck" userId="24d0e79a7fd977da" providerId="LiveId" clId="{F4A71957-DA7B-414F-B0AC-46DE150A249C}" dt="2025-09-16T12:26:22.140" v="53" actId="20577"/>
          <ac:spMkLst>
            <pc:docMk/>
            <pc:sldMk cId="276544244" sldId="526"/>
            <ac:spMk id="9" creationId="{940CCE38-7A04-3131-575F-456E8179D158}"/>
          </ac:spMkLst>
        </pc:spChg>
        <pc:spChg chg="mod">
          <ac:chgData name="Koen Verbeeck" userId="24d0e79a7fd977da" providerId="LiveId" clId="{F4A71957-DA7B-414F-B0AC-46DE150A249C}" dt="2025-09-16T12:27:19.579" v="66"/>
          <ac:spMkLst>
            <pc:docMk/>
            <pc:sldMk cId="276544244" sldId="526"/>
            <ac:spMk id="10" creationId="{B247651E-C031-AAD6-DF56-86D447E3AA8D}"/>
          </ac:spMkLst>
        </pc:spChg>
        <pc:spChg chg="mod">
          <ac:chgData name="Koen Verbeeck" userId="24d0e79a7fd977da" providerId="LiveId" clId="{F4A71957-DA7B-414F-B0AC-46DE150A249C}" dt="2025-09-16T12:26:25.867" v="56" actId="20577"/>
          <ac:spMkLst>
            <pc:docMk/>
            <pc:sldMk cId="276544244" sldId="526"/>
            <ac:spMk id="11" creationId="{00683785-89E0-2814-81FB-6EE8D1DBBF9E}"/>
          </ac:spMkLst>
        </pc:spChg>
        <pc:spChg chg="mod">
          <ac:chgData name="Koen Verbeeck" userId="24d0e79a7fd977da" providerId="LiveId" clId="{F4A71957-DA7B-414F-B0AC-46DE150A249C}" dt="2025-09-16T12:27:26.122" v="67"/>
          <ac:spMkLst>
            <pc:docMk/>
            <pc:sldMk cId="276544244" sldId="526"/>
            <ac:spMk id="12" creationId="{7579CEC9-7A25-DE3A-4A1A-D79EC32CFFB8}"/>
          </ac:spMkLst>
        </pc:spChg>
        <pc:spChg chg="mod">
          <ac:chgData name="Koen Verbeeck" userId="24d0e79a7fd977da" providerId="LiveId" clId="{F4A71957-DA7B-414F-B0AC-46DE150A249C}" dt="2025-09-16T12:26:27.744" v="59" actId="20577"/>
          <ac:spMkLst>
            <pc:docMk/>
            <pc:sldMk cId="276544244" sldId="526"/>
            <ac:spMk id="13" creationId="{8E4228AE-BF61-E5D7-2FCA-45D6C96090CA}"/>
          </ac:spMkLst>
        </pc:spChg>
        <pc:spChg chg="mod">
          <ac:chgData name="Koen Verbeeck" userId="24d0e79a7fd977da" providerId="LiveId" clId="{F4A71957-DA7B-414F-B0AC-46DE150A249C}" dt="2025-09-16T12:26:03.436" v="11" actId="20577"/>
          <ac:spMkLst>
            <pc:docMk/>
            <pc:sldMk cId="276544244" sldId="526"/>
            <ac:spMk id="14" creationId="{BAA6BEA9-C080-96C4-73C9-7D9FF2B0DE4B}"/>
          </ac:spMkLst>
        </pc:spChg>
      </pc:sldChg>
      <pc:sldChg chg="new del">
        <pc:chgData name="Koen Verbeeck" userId="24d0e79a7fd977da" providerId="LiveId" clId="{F4A71957-DA7B-414F-B0AC-46DE150A249C}" dt="2025-10-04T13:28:15.712" v="85" actId="47"/>
        <pc:sldMkLst>
          <pc:docMk/>
          <pc:sldMk cId="1109100890" sldId="527"/>
        </pc:sldMkLst>
      </pc:sldChg>
      <pc:sldChg chg="addSp delSp modSp add mod">
        <pc:chgData name="Koen Verbeeck" userId="24d0e79a7fd977da" providerId="LiveId" clId="{F4A71957-DA7B-414F-B0AC-46DE150A249C}" dt="2025-10-04T13:36:09.521" v="153" actId="14100"/>
        <pc:sldMkLst>
          <pc:docMk/>
          <pc:sldMk cId="1820649497" sldId="528"/>
        </pc:sldMkLst>
        <pc:spChg chg="del">
          <ac:chgData name="Koen Verbeeck" userId="24d0e79a7fd977da" providerId="LiveId" clId="{F4A71957-DA7B-414F-B0AC-46DE150A249C}" dt="2025-10-04T13:30:28.599" v="97" actId="478"/>
          <ac:spMkLst>
            <pc:docMk/>
            <pc:sldMk cId="1820649497" sldId="528"/>
            <ac:spMk id="2" creationId="{919D05EE-66D0-9084-9651-BBB4B4D96EDF}"/>
          </ac:spMkLst>
        </pc:spChg>
        <pc:spChg chg="del mod">
          <ac:chgData name="Koen Verbeeck" userId="24d0e79a7fd977da" providerId="LiveId" clId="{F4A71957-DA7B-414F-B0AC-46DE150A249C}" dt="2025-10-04T13:28:24.515" v="89" actId="478"/>
          <ac:spMkLst>
            <pc:docMk/>
            <pc:sldMk cId="1820649497" sldId="528"/>
            <ac:spMk id="3" creationId="{F3BC71D9-A2B3-CAD9-69CE-0211AED86880}"/>
          </ac:spMkLst>
        </pc:spChg>
        <pc:spChg chg="mod">
          <ac:chgData name="Koen Verbeeck" userId="24d0e79a7fd977da" providerId="LiveId" clId="{F4A71957-DA7B-414F-B0AC-46DE150A249C}" dt="2025-10-04T13:30:34.833" v="114" actId="20577"/>
          <ac:spMkLst>
            <pc:docMk/>
            <pc:sldMk cId="1820649497" sldId="528"/>
            <ac:spMk id="4" creationId="{91E66ECA-D518-F641-6805-27BD6D301E8E}"/>
          </ac:spMkLst>
        </pc:spChg>
        <pc:spChg chg="del">
          <ac:chgData name="Koen Verbeeck" userId="24d0e79a7fd977da" providerId="LiveId" clId="{F4A71957-DA7B-414F-B0AC-46DE150A249C}" dt="2025-10-04T13:30:30.483" v="98" actId="478"/>
          <ac:spMkLst>
            <pc:docMk/>
            <pc:sldMk cId="1820649497" sldId="528"/>
            <ac:spMk id="20" creationId="{069142CB-C16D-8847-BD3D-AA5AA7DFDEF9}"/>
          </ac:spMkLst>
        </pc:spChg>
        <pc:spChg chg="del">
          <ac:chgData name="Koen Verbeeck" userId="24d0e79a7fd977da" providerId="LiveId" clId="{F4A71957-DA7B-414F-B0AC-46DE150A249C}" dt="2025-10-04T13:30:30.483" v="98" actId="478"/>
          <ac:spMkLst>
            <pc:docMk/>
            <pc:sldMk cId="1820649497" sldId="528"/>
            <ac:spMk id="26" creationId="{D88A51B1-E673-FC8B-2CF8-E65C8F3C67B8}"/>
          </ac:spMkLst>
        </pc:spChg>
        <pc:spChg chg="del">
          <ac:chgData name="Koen Verbeeck" userId="24d0e79a7fd977da" providerId="LiveId" clId="{F4A71957-DA7B-414F-B0AC-46DE150A249C}" dt="2025-10-04T13:30:30.483" v="98" actId="478"/>
          <ac:spMkLst>
            <pc:docMk/>
            <pc:sldMk cId="1820649497" sldId="528"/>
            <ac:spMk id="30" creationId="{18600A45-7052-FE74-FCEC-BD8AAEC19070}"/>
          </ac:spMkLst>
        </pc:spChg>
        <pc:grpChg chg="del">
          <ac:chgData name="Koen Verbeeck" userId="24d0e79a7fd977da" providerId="LiveId" clId="{F4A71957-DA7B-414F-B0AC-46DE150A249C}" dt="2025-10-04T13:30:28.599" v="97" actId="478"/>
          <ac:grpSpMkLst>
            <pc:docMk/>
            <pc:sldMk cId="1820649497" sldId="528"/>
            <ac:grpSpMk id="23" creationId="{2AD24A24-CDF2-1671-FC4F-76E44452C761}"/>
          </ac:grpSpMkLst>
        </pc:grpChg>
        <pc:grpChg chg="del">
          <ac:chgData name="Koen Verbeeck" userId="24d0e79a7fd977da" providerId="LiveId" clId="{F4A71957-DA7B-414F-B0AC-46DE150A249C}" dt="2025-10-04T13:30:28.599" v="97" actId="478"/>
          <ac:grpSpMkLst>
            <pc:docMk/>
            <pc:sldMk cId="1820649497" sldId="528"/>
            <ac:grpSpMk id="24" creationId="{4D2B8CC9-8FCC-F3A7-D53F-E64A85CC6EA0}"/>
          </ac:grpSpMkLst>
        </pc:grpChg>
        <pc:grpChg chg="del">
          <ac:chgData name="Koen Verbeeck" userId="24d0e79a7fd977da" providerId="LiveId" clId="{F4A71957-DA7B-414F-B0AC-46DE150A249C}" dt="2025-10-04T13:30:28.599" v="97" actId="478"/>
          <ac:grpSpMkLst>
            <pc:docMk/>
            <pc:sldMk cId="1820649497" sldId="528"/>
            <ac:grpSpMk id="36" creationId="{27C73DBE-3A5E-3D30-0869-A19EB9EEC031}"/>
          </ac:grpSpMkLst>
        </pc:grpChg>
        <pc:grpChg chg="del">
          <ac:chgData name="Koen Verbeeck" userId="24d0e79a7fd977da" providerId="LiveId" clId="{F4A71957-DA7B-414F-B0AC-46DE150A249C}" dt="2025-10-04T13:28:22.578" v="87" actId="478"/>
          <ac:grpSpMkLst>
            <pc:docMk/>
            <pc:sldMk cId="1820649497" sldId="528"/>
            <ac:grpSpMk id="59" creationId="{6D68032D-53A8-CF31-7FE6-6AA8C5055CB6}"/>
          </ac:grpSpMkLst>
        </pc:grpChg>
        <pc:picChg chg="add del mod">
          <ac:chgData name="Koen Verbeeck" userId="24d0e79a7fd977da" providerId="LiveId" clId="{F4A71957-DA7B-414F-B0AC-46DE150A249C}" dt="2025-10-04T13:35:18.237" v="147" actId="478"/>
          <ac:picMkLst>
            <pc:docMk/>
            <pc:sldMk cId="1820649497" sldId="528"/>
            <ac:picMk id="7" creationId="{99556C55-3E94-8A96-F1A7-03E8A69061F1}"/>
          </ac:picMkLst>
        </pc:picChg>
        <pc:picChg chg="add mod">
          <ac:chgData name="Koen Verbeeck" userId="24d0e79a7fd977da" providerId="LiveId" clId="{F4A71957-DA7B-414F-B0AC-46DE150A249C}" dt="2025-10-04T13:35:17.015" v="146" actId="14100"/>
          <ac:picMkLst>
            <pc:docMk/>
            <pc:sldMk cId="1820649497" sldId="528"/>
            <ac:picMk id="9" creationId="{AF3AC304-B9B2-3281-2706-874C25BB4FA7}"/>
          </ac:picMkLst>
        </pc:picChg>
        <pc:picChg chg="add mod">
          <ac:chgData name="Koen Verbeeck" userId="24d0e79a7fd977da" providerId="LiveId" clId="{F4A71957-DA7B-414F-B0AC-46DE150A249C}" dt="2025-10-04T13:36:09.521" v="153" actId="14100"/>
          <ac:picMkLst>
            <pc:docMk/>
            <pc:sldMk cId="1820649497" sldId="528"/>
            <ac:picMk id="11" creationId="{38D2B179-EA59-1088-B08A-2203F8461CB7}"/>
          </ac:picMkLst>
        </pc:picChg>
        <pc:picChg chg="del">
          <ac:chgData name="Koen Verbeeck" userId="24d0e79a7fd977da" providerId="LiveId" clId="{F4A71957-DA7B-414F-B0AC-46DE150A249C}" dt="2025-10-04T13:30:28.599" v="97" actId="478"/>
          <ac:picMkLst>
            <pc:docMk/>
            <pc:sldMk cId="1820649497" sldId="528"/>
            <ac:picMk id="47" creationId="{C671ED9A-C618-3CD6-0F34-36F0CF6C9D9E}"/>
          </ac:picMkLst>
        </pc:picChg>
        <pc:picChg chg="del mod">
          <ac:chgData name="Koen Verbeeck" userId="24d0e79a7fd977da" providerId="LiveId" clId="{F4A71957-DA7B-414F-B0AC-46DE150A249C}" dt="2025-10-04T13:29:03.818" v="94" actId="478"/>
          <ac:picMkLst>
            <pc:docMk/>
            <pc:sldMk cId="1820649497" sldId="528"/>
            <ac:picMk id="56" creationId="{19948703-C5BD-8ECA-F045-6446FC21E161}"/>
          </ac:picMkLst>
        </pc:picChg>
        <pc:picChg chg="del">
          <ac:chgData name="Koen Verbeeck" userId="24d0e79a7fd977da" providerId="LiveId" clId="{F4A71957-DA7B-414F-B0AC-46DE150A249C}" dt="2025-10-04T13:28:21.835" v="86" actId="478"/>
          <ac:picMkLst>
            <pc:docMk/>
            <pc:sldMk cId="1820649497" sldId="528"/>
            <ac:picMk id="57" creationId="{9CD0DC41-F5E9-5D1A-7189-8068FA5E01B2}"/>
          </ac:picMkLst>
        </pc:picChg>
        <pc:picChg chg="add mod">
          <ac:chgData name="Koen Verbeeck" userId="24d0e79a7fd977da" providerId="LiveId" clId="{F4A71957-DA7B-414F-B0AC-46DE150A249C}" dt="2025-10-04T13:34:45.351" v="141" actId="1076"/>
          <ac:picMkLst>
            <pc:docMk/>
            <pc:sldMk cId="1820649497" sldId="528"/>
            <ac:picMk id="2050" creationId="{994A7E44-A782-E4C5-50E1-63859D4A7F68}"/>
          </ac:picMkLst>
        </pc:picChg>
        <pc:picChg chg="add mod">
          <ac:chgData name="Koen Verbeeck" userId="24d0e79a7fd977da" providerId="LiveId" clId="{F4A71957-DA7B-414F-B0AC-46DE150A249C}" dt="2025-10-04T13:35:35.678" v="148"/>
          <ac:picMkLst>
            <pc:docMk/>
            <pc:sldMk cId="1820649497" sldId="528"/>
            <ac:picMk id="2052" creationId="{9FB6C035-7F72-A47F-80A0-EA9BB8471842}"/>
          </ac:picMkLst>
        </pc:picChg>
      </pc:sldChg>
    </pc:docChg>
  </pc:docChgLst>
  <pc:docChgLst>
    <pc:chgData name="Koen Verbeeck" userId="24d0e79a7fd977da" providerId="LiveId" clId="{5CFFFCFA-D4FF-4BF2-A15F-857B5C7E4031}"/>
    <pc:docChg chg="undo redo custSel addSld delSld modSld sldOrd modMainMaster">
      <pc:chgData name="Koen Verbeeck" userId="24d0e79a7fd977da" providerId="LiveId" clId="{5CFFFCFA-D4FF-4BF2-A15F-857B5C7E4031}" dt="2025-09-04T20:14:01.295" v="11375" actId="14100"/>
      <pc:docMkLst>
        <pc:docMk/>
      </pc:docMkLst>
      <pc:sldChg chg="addSp delSp modSp mod modTransition modAnim">
        <pc:chgData name="Koen Verbeeck" userId="24d0e79a7fd977da" providerId="LiveId" clId="{5CFFFCFA-D4FF-4BF2-A15F-857B5C7E4031}" dt="2025-09-04T14:17:13.455" v="9055"/>
        <pc:sldMkLst>
          <pc:docMk/>
          <pc:sldMk cId="385104750" sldId="259"/>
        </pc:sldMkLst>
      </pc:sldChg>
      <pc:sldChg chg="modSp mod modTransition">
        <pc:chgData name="Koen Verbeeck" userId="24d0e79a7fd977da" providerId="LiveId" clId="{5CFFFCFA-D4FF-4BF2-A15F-857B5C7E4031}" dt="2025-09-04T14:17:13.455" v="9055"/>
        <pc:sldMkLst>
          <pc:docMk/>
          <pc:sldMk cId="2087304839" sldId="260"/>
        </pc:sldMkLst>
      </pc:sldChg>
      <pc:sldChg chg="addSp modSp mod modTransition">
        <pc:chgData name="Koen Verbeeck" userId="24d0e79a7fd977da" providerId="LiveId" clId="{5CFFFCFA-D4FF-4BF2-A15F-857B5C7E4031}" dt="2025-09-04T14:17:13.455" v="9055"/>
        <pc:sldMkLst>
          <pc:docMk/>
          <pc:sldMk cId="4165279226" sldId="265"/>
        </pc:sldMkLst>
      </pc:sldChg>
      <pc:sldChg chg="addSp delSp modSp del mod">
        <pc:chgData name="Koen Verbeeck" userId="24d0e79a7fd977da" providerId="LiveId" clId="{5CFFFCFA-D4FF-4BF2-A15F-857B5C7E4031}" dt="2025-09-03T10:23:22.811" v="6715" actId="47"/>
        <pc:sldMkLst>
          <pc:docMk/>
          <pc:sldMk cId="1993828845" sldId="286"/>
        </pc:sldMkLst>
      </pc:sldChg>
      <pc:sldChg chg="add del modTransition">
        <pc:chgData name="Koen Verbeeck" userId="24d0e79a7fd977da" providerId="LiveId" clId="{5CFFFCFA-D4FF-4BF2-A15F-857B5C7E4031}" dt="2025-09-04T14:17:13.455" v="9055"/>
        <pc:sldMkLst>
          <pc:docMk/>
          <pc:sldMk cId="3682278545" sldId="287"/>
        </pc:sldMkLst>
      </pc:sldChg>
      <pc:sldChg chg="addSp delSp modSp mod modTransition">
        <pc:chgData name="Koen Verbeeck" userId="24d0e79a7fd977da" providerId="LiveId" clId="{5CFFFCFA-D4FF-4BF2-A15F-857B5C7E4031}" dt="2025-09-04T14:17:13.455" v="9055"/>
        <pc:sldMkLst>
          <pc:docMk/>
          <pc:sldMk cId="830403682" sldId="325"/>
        </pc:sldMkLst>
      </pc:sldChg>
      <pc:sldChg chg="modTransition">
        <pc:chgData name="Koen Verbeeck" userId="24d0e79a7fd977da" providerId="LiveId" clId="{5CFFFCFA-D4FF-4BF2-A15F-857B5C7E4031}" dt="2025-09-04T14:17:13.455" v="9055"/>
        <pc:sldMkLst>
          <pc:docMk/>
          <pc:sldMk cId="5695718" sldId="382"/>
        </pc:sldMkLst>
      </pc:sldChg>
      <pc:sldChg chg="addSp modSp mod modTransition">
        <pc:chgData name="Koen Verbeeck" userId="24d0e79a7fd977da" providerId="LiveId" clId="{5CFFFCFA-D4FF-4BF2-A15F-857B5C7E4031}" dt="2025-09-04T14:17:13.455" v="9055"/>
        <pc:sldMkLst>
          <pc:docMk/>
          <pc:sldMk cId="363614790" sldId="412"/>
        </pc:sldMkLst>
      </pc:sldChg>
      <pc:sldChg chg="del modTransition">
        <pc:chgData name="Koen Verbeeck" userId="24d0e79a7fd977da" providerId="LiveId" clId="{5CFFFCFA-D4FF-4BF2-A15F-857B5C7E4031}" dt="2025-09-04T18:28:11.301" v="10388" actId="47"/>
        <pc:sldMkLst>
          <pc:docMk/>
          <pc:sldMk cId="3471743884" sldId="415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952940484" sldId="41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16818922" sldId="418"/>
        </pc:sldMkLst>
      </pc:sldChg>
      <pc:sldChg chg="del">
        <pc:chgData name="Koen Verbeeck" userId="24d0e79a7fd977da" providerId="LiveId" clId="{5CFFFCFA-D4FF-4BF2-A15F-857B5C7E4031}" dt="2025-09-02T06:53:28.840" v="3454" actId="47"/>
        <pc:sldMkLst>
          <pc:docMk/>
          <pc:sldMk cId="2188455517" sldId="419"/>
        </pc:sldMkLst>
      </pc:sldChg>
      <pc:sldChg chg="addSp delSp modSp del mod modTransition chgLayout">
        <pc:chgData name="Koen Verbeeck" userId="24d0e79a7fd977da" providerId="LiveId" clId="{5CFFFCFA-D4FF-4BF2-A15F-857B5C7E4031}" dt="2025-09-04T18:27:14.153" v="10375" actId="47"/>
        <pc:sldMkLst>
          <pc:docMk/>
          <pc:sldMk cId="2269511066" sldId="42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4255727584" sldId="421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293451074" sldId="422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721146754" sldId="423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76125787" sldId="424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135261592" sldId="42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631774745" sldId="428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706615541" sldId="429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452377678" sldId="43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521477185" sldId="431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534451903" sldId="432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457210392" sldId="433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162433024" sldId="434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606610294" sldId="435"/>
        </pc:sldMkLst>
      </pc:sldChg>
      <pc:sldChg chg="addSp delSp modSp add del modTransition modAnim">
        <pc:chgData name="Koen Verbeeck" userId="24d0e79a7fd977da" providerId="LiveId" clId="{5CFFFCFA-D4FF-4BF2-A15F-857B5C7E4031}" dt="2025-09-04T18:55:14.049" v="11167" actId="47"/>
        <pc:sldMkLst>
          <pc:docMk/>
          <pc:sldMk cId="2616444711" sldId="436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987402462" sldId="43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190501820" sldId="438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994650749" sldId="439"/>
        </pc:sldMkLst>
      </pc:sldChg>
      <pc:sldChg chg="del">
        <pc:chgData name="Koen Verbeeck" userId="24d0e79a7fd977da" providerId="LiveId" clId="{5CFFFCFA-D4FF-4BF2-A15F-857B5C7E4031}" dt="2025-09-02T06:53:26.259" v="3453" actId="47"/>
        <pc:sldMkLst>
          <pc:docMk/>
          <pc:sldMk cId="329848273" sldId="44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752023835" sldId="441"/>
        </pc:sldMkLst>
      </pc:sldChg>
      <pc:sldChg chg="del">
        <pc:chgData name="Koen Verbeeck" userId="24d0e79a7fd977da" providerId="LiveId" clId="{5CFFFCFA-D4FF-4BF2-A15F-857B5C7E4031}" dt="2025-09-02T06:53:25.309" v="3452" actId="47"/>
        <pc:sldMkLst>
          <pc:docMk/>
          <pc:sldMk cId="3565553127" sldId="442"/>
        </pc:sldMkLst>
      </pc:sldChg>
      <pc:sldChg chg="del">
        <pc:chgData name="Koen Verbeeck" userId="24d0e79a7fd977da" providerId="LiveId" clId="{5CFFFCFA-D4FF-4BF2-A15F-857B5C7E4031}" dt="2025-09-02T06:53:24.405" v="3451" actId="47"/>
        <pc:sldMkLst>
          <pc:docMk/>
          <pc:sldMk cId="3482203514" sldId="443"/>
        </pc:sldMkLst>
      </pc:sldChg>
      <pc:sldChg chg="del">
        <pc:chgData name="Koen Verbeeck" userId="24d0e79a7fd977da" providerId="LiveId" clId="{5CFFFCFA-D4FF-4BF2-A15F-857B5C7E4031}" dt="2025-09-02T06:53:23.260" v="3450" actId="47"/>
        <pc:sldMkLst>
          <pc:docMk/>
          <pc:sldMk cId="2149194617" sldId="444"/>
        </pc:sldMkLst>
      </pc:sldChg>
      <pc:sldChg chg="add del">
        <pc:chgData name="Koen Verbeeck" userId="24d0e79a7fd977da" providerId="LiveId" clId="{5CFFFCFA-D4FF-4BF2-A15F-857B5C7E4031}" dt="2025-09-04T14:16:58.096" v="9054" actId="47"/>
        <pc:sldMkLst>
          <pc:docMk/>
          <pc:sldMk cId="2974785033" sldId="445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4180011368" sldId="446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04209103" sldId="447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373905761" sldId="448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747834666" sldId="449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410872605" sldId="450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2120327163" sldId="451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140832671" sldId="452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512009409" sldId="453"/>
        </pc:sldMkLst>
      </pc:sldChg>
      <pc:sldChg chg="del">
        <pc:chgData name="Koen Verbeeck" userId="24d0e79a7fd977da" providerId="LiveId" clId="{5CFFFCFA-D4FF-4BF2-A15F-857B5C7E4031}" dt="2025-09-02T13:47:46.114" v="5006" actId="47"/>
        <pc:sldMkLst>
          <pc:docMk/>
          <pc:sldMk cId="4032121321" sldId="454"/>
        </pc:sldMkLst>
      </pc:sldChg>
      <pc:sldChg chg="addSp modSp add mod modTransition">
        <pc:chgData name="Koen Verbeeck" userId="24d0e79a7fd977da" providerId="LiveId" clId="{5CFFFCFA-D4FF-4BF2-A15F-857B5C7E4031}" dt="2025-09-04T14:17:13.455" v="9055"/>
        <pc:sldMkLst>
          <pc:docMk/>
          <pc:sldMk cId="4032429522" sldId="455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1405843470" sldId="456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1648693406" sldId="457"/>
        </pc:sldMkLst>
      </pc:sldChg>
      <pc:sldChg chg="add del">
        <pc:chgData name="Koen Verbeeck" userId="24d0e79a7fd977da" providerId="LiveId" clId="{5CFFFCFA-D4FF-4BF2-A15F-857B5C7E4031}" dt="2025-07-29T18:04:07.933" v="296" actId="47"/>
        <pc:sldMkLst>
          <pc:docMk/>
          <pc:sldMk cId="3357891599" sldId="458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3046573536" sldId="459"/>
        </pc:sldMkLst>
      </pc:sldChg>
      <pc:sldChg chg="addSp delSp modSp new mod modTransition modClrScheme modAnim chgLayout modNotesTx">
        <pc:chgData name="Koen Verbeeck" userId="24d0e79a7fd977da" providerId="LiveId" clId="{5CFFFCFA-D4FF-4BF2-A15F-857B5C7E4031}" dt="2025-09-04T14:17:13.455" v="9055"/>
        <pc:sldMkLst>
          <pc:docMk/>
          <pc:sldMk cId="3394372263" sldId="460"/>
        </pc:sldMkLst>
      </pc:sldChg>
      <pc:sldChg chg="addSp delSp modSp new mod modTransition modNotesTx">
        <pc:chgData name="Koen Verbeeck" userId="24d0e79a7fd977da" providerId="LiveId" clId="{5CFFFCFA-D4FF-4BF2-A15F-857B5C7E4031}" dt="2025-09-04T14:17:13.455" v="9055"/>
        <pc:sldMkLst>
          <pc:docMk/>
          <pc:sldMk cId="3859392778" sldId="461"/>
        </pc:sldMkLst>
      </pc:sldChg>
      <pc:sldChg chg="addSp delSp modSp add mod modTransition modNotesTx">
        <pc:chgData name="Koen Verbeeck" userId="24d0e79a7fd977da" providerId="LiveId" clId="{5CFFFCFA-D4FF-4BF2-A15F-857B5C7E4031}" dt="2025-09-04T14:17:13.455" v="9055"/>
        <pc:sldMkLst>
          <pc:docMk/>
          <pc:sldMk cId="1861692962" sldId="462"/>
        </pc:sldMkLst>
      </pc:sldChg>
      <pc:sldChg chg="addSp delSp modSp new mod modTransition modClrScheme chgLayout modNotesTx">
        <pc:chgData name="Koen Verbeeck" userId="24d0e79a7fd977da" providerId="LiveId" clId="{5CFFFCFA-D4FF-4BF2-A15F-857B5C7E4031}" dt="2025-09-04T14:17:13.455" v="9055"/>
        <pc:sldMkLst>
          <pc:docMk/>
          <pc:sldMk cId="615783190" sldId="463"/>
        </pc:sldMkLst>
      </pc:sldChg>
      <pc:sldChg chg="modSp add mod modTransition">
        <pc:chgData name="Koen Verbeeck" userId="24d0e79a7fd977da" providerId="LiveId" clId="{5CFFFCFA-D4FF-4BF2-A15F-857B5C7E4031}" dt="2025-09-04T14:17:13.455" v="9055"/>
        <pc:sldMkLst>
          <pc:docMk/>
          <pc:sldMk cId="3879840165" sldId="464"/>
        </pc:sldMkLst>
      </pc:sldChg>
      <pc:sldChg chg="addSp delSp modSp new mod modTransition modClrScheme chgLayout">
        <pc:chgData name="Koen Verbeeck" userId="24d0e79a7fd977da" providerId="LiveId" clId="{5CFFFCFA-D4FF-4BF2-A15F-857B5C7E4031}" dt="2025-09-04T14:17:13.455" v="9055"/>
        <pc:sldMkLst>
          <pc:docMk/>
          <pc:sldMk cId="2667584055" sldId="465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1394953285" sldId="466"/>
        </pc:sldMkLst>
      </pc:sldChg>
      <pc:sldChg chg="delSp modSp add mod modTransition">
        <pc:chgData name="Koen Verbeeck" userId="24d0e79a7fd977da" providerId="LiveId" clId="{5CFFFCFA-D4FF-4BF2-A15F-857B5C7E4031}" dt="2025-09-04T14:17:13.455" v="9055"/>
        <pc:sldMkLst>
          <pc:docMk/>
          <pc:sldMk cId="3804222832" sldId="467"/>
        </pc:sldMkLst>
      </pc:sldChg>
      <pc:sldChg chg="addSp delSp modSp new mod modTransition modClrScheme modAnim chgLayout">
        <pc:chgData name="Koen Verbeeck" userId="24d0e79a7fd977da" providerId="LiveId" clId="{5CFFFCFA-D4FF-4BF2-A15F-857B5C7E4031}" dt="2025-09-04T14:17:13.455" v="9055"/>
        <pc:sldMkLst>
          <pc:docMk/>
          <pc:sldMk cId="3717059214" sldId="468"/>
        </pc:sldMkLst>
      </pc:sldChg>
      <pc:sldChg chg="addSp delSp modSp add mod modTransition">
        <pc:chgData name="Koen Verbeeck" userId="24d0e79a7fd977da" providerId="LiveId" clId="{5CFFFCFA-D4FF-4BF2-A15F-857B5C7E4031}" dt="2025-09-04T14:17:13.455" v="9055"/>
        <pc:sldMkLst>
          <pc:docMk/>
          <pc:sldMk cId="3653784883" sldId="469"/>
        </pc:sldMkLst>
      </pc:sldChg>
      <pc:sldChg chg="add del">
        <pc:chgData name="Koen Verbeeck" userId="24d0e79a7fd977da" providerId="LiveId" clId="{5CFFFCFA-D4FF-4BF2-A15F-857B5C7E4031}" dt="2025-08-11T12:32:50.369" v="1710" actId="2890"/>
        <pc:sldMkLst>
          <pc:docMk/>
          <pc:sldMk cId="177871482" sldId="470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2181105837" sldId="470"/>
        </pc:sldMkLst>
      </pc:sldChg>
      <pc:sldChg chg="addSp delSp modSp new mod ord modTransition modNotesTx">
        <pc:chgData name="Koen Verbeeck" userId="24d0e79a7fd977da" providerId="LiveId" clId="{5CFFFCFA-D4FF-4BF2-A15F-857B5C7E4031}" dt="2025-09-04T14:17:13.455" v="9055"/>
        <pc:sldMkLst>
          <pc:docMk/>
          <pc:sldMk cId="3091559660" sldId="471"/>
        </pc:sldMkLst>
      </pc:sldChg>
      <pc:sldChg chg="addSp delSp modSp add del mod ord">
        <pc:chgData name="Koen Verbeeck" userId="24d0e79a7fd977da" providerId="LiveId" clId="{5CFFFCFA-D4FF-4BF2-A15F-857B5C7E4031}" dt="2025-09-02T13:36:50.324" v="4949" actId="47"/>
        <pc:sldMkLst>
          <pc:docMk/>
          <pc:sldMk cId="3006484566" sldId="472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673332962" sldId="473"/>
        </pc:sldMkLst>
      </pc:sldChg>
      <pc:sldChg chg="addSp delSp modSp new del mod modAnim">
        <pc:chgData name="Koen Verbeeck" userId="24d0e79a7fd977da" providerId="LiveId" clId="{5CFFFCFA-D4FF-4BF2-A15F-857B5C7E4031}" dt="2025-08-11T19:08:06.946" v="2201" actId="47"/>
        <pc:sldMkLst>
          <pc:docMk/>
          <pc:sldMk cId="482763188" sldId="474"/>
        </pc:sldMkLst>
      </pc:sldChg>
      <pc:sldChg chg="modSp new del setBg">
        <pc:chgData name="Koen Verbeeck" userId="24d0e79a7fd977da" providerId="LiveId" clId="{5CFFFCFA-D4FF-4BF2-A15F-857B5C7E4031}" dt="2025-08-13T08:22:18.677" v="2661" actId="47"/>
        <pc:sldMkLst>
          <pc:docMk/>
          <pc:sldMk cId="1465784673" sldId="475"/>
        </pc:sldMkLst>
      </pc:sldChg>
      <pc:sldChg chg="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4083433420" sldId="476"/>
        </pc:sldMkLst>
      </pc:sldChg>
      <pc:sldChg chg="add del setBg">
        <pc:chgData name="Koen Verbeeck" userId="24d0e79a7fd977da" providerId="LiveId" clId="{5CFFFCFA-D4FF-4BF2-A15F-857B5C7E4031}" dt="2025-08-11T19:07:21.525" v="2168"/>
        <pc:sldMkLst>
          <pc:docMk/>
          <pc:sldMk cId="3650609901" sldId="477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4125639791" sldId="477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559727056" sldId="478"/>
        </pc:sldMkLst>
      </pc:sldChg>
      <pc:sldChg chg="addSp delSp modSp new mod modTransition modClrScheme chgLayout">
        <pc:chgData name="Koen Verbeeck" userId="24d0e79a7fd977da" providerId="LiveId" clId="{5CFFFCFA-D4FF-4BF2-A15F-857B5C7E4031}" dt="2025-09-04T14:17:13.455" v="9055"/>
        <pc:sldMkLst>
          <pc:docMk/>
          <pc:sldMk cId="1023110335" sldId="479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589993941" sldId="480"/>
        </pc:sldMkLst>
      </pc:sldChg>
      <pc:sldChg chg="modSp new mod modTransition modAnim">
        <pc:chgData name="Koen Verbeeck" userId="24d0e79a7fd977da" providerId="LiveId" clId="{5CFFFCFA-D4FF-4BF2-A15F-857B5C7E4031}" dt="2025-09-04T19:46:24.614" v="11309"/>
        <pc:sldMkLst>
          <pc:docMk/>
          <pc:sldMk cId="4104361494" sldId="481"/>
        </pc:sldMkLst>
        <pc:spChg chg="mod">
          <ac:chgData name="Koen Verbeeck" userId="24d0e79a7fd977da" providerId="LiveId" clId="{5CFFFCFA-D4FF-4BF2-A15F-857B5C7E4031}" dt="2025-09-04T19:46:07.218" v="11308" actId="27636"/>
          <ac:spMkLst>
            <pc:docMk/>
            <pc:sldMk cId="4104361494" sldId="481"/>
            <ac:spMk id="3" creationId="{6A209080-EE32-D45F-7338-760D72E8E7D9}"/>
          </ac:spMkLst>
        </pc:spChg>
      </pc:sldChg>
      <pc:sldChg chg="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557452998" sldId="482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185003709" sldId="483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00690180" sldId="484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613520733" sldId="485"/>
        </pc:sldMkLst>
      </pc:sldChg>
      <pc:sldChg chg="addSp delSp modSp add mod ord modTransition delAnim modAnim">
        <pc:chgData name="Koen Verbeeck" userId="24d0e79a7fd977da" providerId="LiveId" clId="{5CFFFCFA-D4FF-4BF2-A15F-857B5C7E4031}" dt="2025-09-04T14:17:13.455" v="9055"/>
        <pc:sldMkLst>
          <pc:docMk/>
          <pc:sldMk cId="1689569666" sldId="486"/>
        </pc:sldMkLst>
      </pc:sldChg>
      <pc:sldChg chg="add del">
        <pc:chgData name="Koen Verbeeck" userId="24d0e79a7fd977da" providerId="LiveId" clId="{5CFFFCFA-D4FF-4BF2-A15F-857B5C7E4031}" dt="2025-09-02T06:59:15.744" v="3522" actId="47"/>
        <pc:sldMkLst>
          <pc:docMk/>
          <pc:sldMk cId="1246203811" sldId="487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847065548" sldId="487"/>
        </pc:sldMkLst>
      </pc:sldChg>
      <pc:sldChg chg="new del">
        <pc:chgData name="Koen Verbeeck" userId="24d0e79a7fd977da" providerId="LiveId" clId="{5CFFFCFA-D4FF-4BF2-A15F-857B5C7E4031}" dt="2025-09-02T11:33:07.240" v="4016" actId="47"/>
        <pc:sldMkLst>
          <pc:docMk/>
          <pc:sldMk cId="3239800136" sldId="488"/>
        </pc:sldMkLst>
      </pc:sldChg>
      <pc:sldChg chg="delSp modSp add del mod delAnim">
        <pc:chgData name="Koen Verbeeck" userId="24d0e79a7fd977da" providerId="LiveId" clId="{5CFFFCFA-D4FF-4BF2-A15F-857B5C7E4031}" dt="2025-09-02T10:56:59.084" v="3862" actId="47"/>
        <pc:sldMkLst>
          <pc:docMk/>
          <pc:sldMk cId="3832457410" sldId="488"/>
        </pc:sldMkLst>
      </pc:sldChg>
      <pc:sldChg chg="modSp add del mod setBg">
        <pc:chgData name="Koen Verbeeck" userId="24d0e79a7fd977da" providerId="LiveId" clId="{5CFFFCFA-D4FF-4BF2-A15F-857B5C7E4031}" dt="2025-09-02T10:59:24.557" v="3959" actId="47"/>
        <pc:sldMkLst>
          <pc:docMk/>
          <pc:sldMk cId="3770814240" sldId="489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2072308143" sldId="490"/>
        </pc:sldMkLst>
      </pc:sldChg>
      <pc:sldChg chg="add del setBg">
        <pc:chgData name="Koen Verbeeck" userId="24d0e79a7fd977da" providerId="LiveId" clId="{5CFFFCFA-D4FF-4BF2-A15F-857B5C7E4031}" dt="2025-09-02T10:59:22.680" v="3957"/>
        <pc:sldMkLst>
          <pc:docMk/>
          <pc:sldMk cId="3975549031" sldId="490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571234332" sldId="491"/>
        </pc:sldMkLst>
      </pc:sldChg>
      <pc:sldChg chg="new del">
        <pc:chgData name="Koen Verbeeck" userId="24d0e79a7fd977da" providerId="LiveId" clId="{5CFFFCFA-D4FF-4BF2-A15F-857B5C7E4031}" dt="2025-09-02T13:28:26.758" v="4800" actId="47"/>
        <pc:sldMkLst>
          <pc:docMk/>
          <pc:sldMk cId="328422956" sldId="492"/>
        </pc:sldMkLst>
      </pc:sldChg>
      <pc:sldChg chg="add del setBg">
        <pc:chgData name="Koen Verbeeck" userId="24d0e79a7fd977da" providerId="LiveId" clId="{5CFFFCFA-D4FF-4BF2-A15F-857B5C7E4031}" dt="2025-09-02T11:47:02.921" v="4226"/>
        <pc:sldMkLst>
          <pc:docMk/>
          <pc:sldMk cId="797407970" sldId="493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1997730025" sldId="493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3138358744" sldId="494"/>
        </pc:sldMkLst>
      </pc:sldChg>
      <pc:sldChg chg="addSp delSp modSp add mod ord modTransition modAnim">
        <pc:chgData name="Koen Verbeeck" userId="24d0e79a7fd977da" providerId="LiveId" clId="{5CFFFCFA-D4FF-4BF2-A15F-857B5C7E4031}" dt="2025-09-04T14:17:13.455" v="9055"/>
        <pc:sldMkLst>
          <pc:docMk/>
          <pc:sldMk cId="1751873925" sldId="495"/>
        </pc:sldMkLst>
      </pc:sldChg>
      <pc:sldChg chg="addSp delSp modSp add mod ord modTransition modAnim chgLayout">
        <pc:chgData name="Koen Verbeeck" userId="24d0e79a7fd977da" providerId="LiveId" clId="{5CFFFCFA-D4FF-4BF2-A15F-857B5C7E4031}" dt="2025-09-04T14:17:13.455" v="9055"/>
        <pc:sldMkLst>
          <pc:docMk/>
          <pc:sldMk cId="1548937232" sldId="496"/>
        </pc:sldMkLst>
      </pc:sldChg>
      <pc:sldChg chg="addSp delSp modSp new mod modTransition modClrScheme modAnim chgLayout">
        <pc:chgData name="Koen Verbeeck" userId="24d0e79a7fd977da" providerId="LiveId" clId="{5CFFFCFA-D4FF-4BF2-A15F-857B5C7E4031}" dt="2025-09-04T14:17:13.455" v="9055"/>
        <pc:sldMkLst>
          <pc:docMk/>
          <pc:sldMk cId="3464751875" sldId="497"/>
        </pc:sldMkLst>
      </pc:sldChg>
      <pc:sldChg chg="addSp delSp modSp new mod modTransition modAnim modNotesTx">
        <pc:chgData name="Koen Verbeeck" userId="24d0e79a7fd977da" providerId="LiveId" clId="{5CFFFCFA-D4FF-4BF2-A15F-857B5C7E4031}" dt="2025-09-04T14:17:13.455" v="9055"/>
        <pc:sldMkLst>
          <pc:docMk/>
          <pc:sldMk cId="2165659335" sldId="498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4055336391" sldId="499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1159160499" sldId="500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1909437287" sldId="501"/>
        </pc:sldMkLst>
      </pc:sldChg>
      <pc:sldChg chg="addSp delSp modSp new mod modTransition">
        <pc:chgData name="Koen Verbeeck" userId="24d0e79a7fd977da" providerId="LiveId" clId="{5CFFFCFA-D4FF-4BF2-A15F-857B5C7E4031}" dt="2025-09-04T14:17:13.455" v="9055"/>
        <pc:sldMkLst>
          <pc:docMk/>
          <pc:sldMk cId="532761967" sldId="502"/>
        </pc:sldMkLst>
      </pc:sldChg>
      <pc:sldChg chg="addSp delSp modSp new mod modTransition delAnim modAnim">
        <pc:chgData name="Koen Verbeeck" userId="24d0e79a7fd977da" providerId="LiveId" clId="{5CFFFCFA-D4FF-4BF2-A15F-857B5C7E4031}" dt="2025-09-04T14:17:13.455" v="9055"/>
        <pc:sldMkLst>
          <pc:docMk/>
          <pc:sldMk cId="2133015318" sldId="503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70974310" sldId="504"/>
        </pc:sldMkLst>
      </pc:sldChg>
      <pc:sldChg chg="addSp del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354474480" sldId="505"/>
        </pc:sldMkLst>
      </pc:sldChg>
      <pc:sldChg chg="addSp delSp modSp add mod modTransition delAnim modAnim">
        <pc:chgData name="Koen Verbeeck" userId="24d0e79a7fd977da" providerId="LiveId" clId="{5CFFFCFA-D4FF-4BF2-A15F-857B5C7E4031}" dt="2025-09-04T14:17:13.455" v="9055"/>
        <pc:sldMkLst>
          <pc:docMk/>
          <pc:sldMk cId="2091816589" sldId="506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3292502197" sldId="507"/>
        </pc:sldMkLst>
        <pc:spChg chg="mod">
          <ac:chgData name="Koen Verbeeck" userId="24d0e79a7fd977da" providerId="LiveId" clId="{5CFFFCFA-D4FF-4BF2-A15F-857B5C7E4031}" dt="2025-09-04T11:03:33.771" v="6911" actId="20577"/>
          <ac:spMkLst>
            <pc:docMk/>
            <pc:sldMk cId="3292502197" sldId="507"/>
            <ac:spMk id="3" creationId="{564D1CB4-3C20-2B83-EF12-353F6B2FA808}"/>
          </ac:spMkLst>
        </pc:spChg>
        <pc:spChg chg="add mod">
          <ac:chgData name="Koen Verbeeck" userId="24d0e79a7fd977da" providerId="LiveId" clId="{5CFFFCFA-D4FF-4BF2-A15F-857B5C7E4031}" dt="2025-09-04T11:06:12.317" v="7009" actId="14100"/>
          <ac:spMkLst>
            <pc:docMk/>
            <pc:sldMk cId="3292502197" sldId="507"/>
            <ac:spMk id="5" creationId="{299BF2BE-03A0-02A5-543B-7B9CA7D3D7ED}"/>
          </ac:spMkLst>
        </pc:spChg>
        <pc:spChg chg="add mod">
          <ac:chgData name="Koen Verbeeck" userId="24d0e79a7fd977da" providerId="LiveId" clId="{5CFFFCFA-D4FF-4BF2-A15F-857B5C7E4031}" dt="2025-09-04T11:06:06.413" v="7003" actId="1036"/>
          <ac:spMkLst>
            <pc:docMk/>
            <pc:sldMk cId="3292502197" sldId="507"/>
            <ac:spMk id="8" creationId="{91045B3A-244C-AFDB-7542-40E0C7AFC5BB}"/>
          </ac:spMkLst>
        </pc:spChg>
        <pc:spChg chg="add mod">
          <ac:chgData name="Koen Verbeeck" userId="24d0e79a7fd977da" providerId="LiveId" clId="{5CFFFCFA-D4FF-4BF2-A15F-857B5C7E4031}" dt="2025-09-04T11:06:06.413" v="7003" actId="1036"/>
          <ac:spMkLst>
            <pc:docMk/>
            <pc:sldMk cId="3292502197" sldId="507"/>
            <ac:spMk id="9" creationId="{0441B7B7-FF4C-D9EC-79AB-EDBE2E9498E7}"/>
          </ac:spMkLst>
        </pc:spChg>
        <pc:picChg chg="add mod">
          <ac:chgData name="Koen Verbeeck" userId="24d0e79a7fd977da" providerId="LiveId" clId="{5CFFFCFA-D4FF-4BF2-A15F-857B5C7E4031}" dt="2025-09-04T11:06:06.413" v="7003" actId="1036"/>
          <ac:picMkLst>
            <pc:docMk/>
            <pc:sldMk cId="3292502197" sldId="507"/>
            <ac:picMk id="7" creationId="{793A5189-703F-58CB-0C0F-696C5B9E14E3}"/>
          </ac:picMkLst>
        </pc:picChg>
      </pc:sldChg>
      <pc:sldChg chg="add modTransition">
        <pc:chgData name="Koen Verbeeck" userId="24d0e79a7fd977da" providerId="LiveId" clId="{5CFFFCFA-D4FF-4BF2-A15F-857B5C7E4031}" dt="2025-09-04T14:17:13.455" v="9055"/>
        <pc:sldMkLst>
          <pc:docMk/>
          <pc:sldMk cId="3471054296" sldId="508"/>
        </pc:sldMkLst>
      </pc:sldChg>
      <pc:sldChg chg="addSp modSp new mod modTransition modAnim">
        <pc:chgData name="Koen Verbeeck" userId="24d0e79a7fd977da" providerId="LiveId" clId="{5CFFFCFA-D4FF-4BF2-A15F-857B5C7E4031}" dt="2025-09-04T14:17:13.455" v="9055"/>
        <pc:sldMkLst>
          <pc:docMk/>
          <pc:sldMk cId="2985886824" sldId="509"/>
        </pc:sldMkLst>
        <pc:spChg chg="mod">
          <ac:chgData name="Koen Verbeeck" userId="24d0e79a7fd977da" providerId="LiveId" clId="{5CFFFCFA-D4FF-4BF2-A15F-857B5C7E4031}" dt="2025-09-04T11:26:11.906" v="7030" actId="20577"/>
          <ac:spMkLst>
            <pc:docMk/>
            <pc:sldMk cId="2985886824" sldId="509"/>
            <ac:spMk id="2" creationId="{5837E0A1-42D0-4F67-9906-2C2F3A5BD88F}"/>
          </ac:spMkLst>
        </pc:spChg>
        <pc:spChg chg="mod">
          <ac:chgData name="Koen Verbeeck" userId="24d0e79a7fd977da" providerId="LiveId" clId="{5CFFFCFA-D4FF-4BF2-A15F-857B5C7E4031}" dt="2025-09-04T11:29:57.644" v="7175" actId="5793"/>
          <ac:spMkLst>
            <pc:docMk/>
            <pc:sldMk cId="2985886824" sldId="509"/>
            <ac:spMk id="3" creationId="{13CDCACD-EF53-C558-6B5A-E5937FB26AA0}"/>
          </ac:spMkLst>
        </pc:spChg>
        <pc:spChg chg="add mod">
          <ac:chgData name="Koen Verbeeck" userId="24d0e79a7fd977da" providerId="LiveId" clId="{5CFFFCFA-D4FF-4BF2-A15F-857B5C7E4031}" dt="2025-09-04T11:30:06.779" v="7178" actId="1035"/>
          <ac:spMkLst>
            <pc:docMk/>
            <pc:sldMk cId="2985886824" sldId="509"/>
            <ac:spMk id="5" creationId="{E7ECA4E8-94F0-01AF-7671-1CD0F883712D}"/>
          </ac:spMkLst>
        </pc:spChg>
        <pc:spChg chg="add mod">
          <ac:chgData name="Koen Verbeeck" userId="24d0e79a7fd977da" providerId="LiveId" clId="{5CFFFCFA-D4FF-4BF2-A15F-857B5C7E4031}" dt="2025-09-04T11:30:06.779" v="7178" actId="1035"/>
          <ac:spMkLst>
            <pc:docMk/>
            <pc:sldMk cId="2985886824" sldId="509"/>
            <ac:spMk id="7" creationId="{ED94C257-2665-0155-70A5-329210799E11}"/>
          </ac:spMkLst>
        </pc:spChg>
        <pc:spChg chg="add mod">
          <ac:chgData name="Koen Verbeeck" userId="24d0e79a7fd977da" providerId="LiveId" clId="{5CFFFCFA-D4FF-4BF2-A15F-857B5C7E4031}" dt="2025-09-04T11:30:59.589" v="7192" actId="14100"/>
          <ac:spMkLst>
            <pc:docMk/>
            <pc:sldMk cId="2985886824" sldId="509"/>
            <ac:spMk id="10" creationId="{50BA3895-EABE-24BB-C128-69DF4677F56E}"/>
          </ac:spMkLst>
        </pc:spChg>
        <pc:spChg chg="add mod">
          <ac:chgData name="Koen Verbeeck" userId="24d0e79a7fd977da" providerId="LiveId" clId="{5CFFFCFA-D4FF-4BF2-A15F-857B5C7E4031}" dt="2025-09-04T11:31:05.514" v="7194" actId="1076"/>
          <ac:spMkLst>
            <pc:docMk/>
            <pc:sldMk cId="2985886824" sldId="509"/>
            <ac:spMk id="11" creationId="{1F0F2B9D-B628-8162-1340-9ED52929FD94}"/>
          </ac:spMkLst>
        </pc:spChg>
        <pc:spChg chg="add mod">
          <ac:chgData name="Koen Verbeeck" userId="24d0e79a7fd977da" providerId="LiveId" clId="{5CFFFCFA-D4FF-4BF2-A15F-857B5C7E4031}" dt="2025-09-04T11:31:11.228" v="7196" actId="1076"/>
          <ac:spMkLst>
            <pc:docMk/>
            <pc:sldMk cId="2985886824" sldId="509"/>
            <ac:spMk id="12" creationId="{90D613C9-0EE6-620D-17D0-3482F9DE9FC5}"/>
          </ac:spMkLst>
        </pc:spChg>
        <pc:picChg chg="add mod ord">
          <ac:chgData name="Koen Verbeeck" userId="24d0e79a7fd977da" providerId="LiveId" clId="{5CFFFCFA-D4FF-4BF2-A15F-857B5C7E4031}" dt="2025-09-04T11:30:52.542" v="7190" actId="167"/>
          <ac:picMkLst>
            <pc:docMk/>
            <pc:sldMk cId="2985886824" sldId="509"/>
            <ac:picMk id="9" creationId="{480E8E2C-7DC2-CF07-7292-E75571241017}"/>
          </ac:picMkLst>
        </pc:picChg>
      </pc:sldChg>
      <pc:sldChg chg="addSp delSp modSp new mod modTransition modClrScheme modAnim chgLayout">
        <pc:chgData name="Koen Verbeeck" userId="24d0e79a7fd977da" providerId="LiveId" clId="{5CFFFCFA-D4FF-4BF2-A15F-857B5C7E4031}" dt="2025-09-04T14:17:13.455" v="9055"/>
        <pc:sldMkLst>
          <pc:docMk/>
          <pc:sldMk cId="2008320766" sldId="510"/>
        </pc:sldMkLst>
        <pc:spChg chg="add mod ord">
          <ac:chgData name="Koen Verbeeck" userId="24d0e79a7fd977da" providerId="LiveId" clId="{5CFFFCFA-D4FF-4BF2-A15F-857B5C7E4031}" dt="2025-09-04T11:44:59.559" v="7283" actId="5793"/>
          <ac:spMkLst>
            <pc:docMk/>
            <pc:sldMk cId="2008320766" sldId="510"/>
            <ac:spMk id="4" creationId="{91EB8610-9321-7150-D29B-E57575A96084}"/>
          </ac:spMkLst>
        </pc:spChg>
        <pc:spChg chg="add mod ord">
          <ac:chgData name="Koen Verbeeck" userId="24d0e79a7fd977da" providerId="LiveId" clId="{5CFFFCFA-D4FF-4BF2-A15F-857B5C7E4031}" dt="2025-09-04T11:49:37.380" v="7603" actId="33524"/>
          <ac:spMkLst>
            <pc:docMk/>
            <pc:sldMk cId="2008320766" sldId="510"/>
            <ac:spMk id="5" creationId="{B1982E32-FB2D-B044-3F65-4585D7FF4529}"/>
          </ac:spMkLst>
        </pc:spChg>
      </pc:sldChg>
      <pc:sldChg chg="addSp modSp new mod modTransition modAnim">
        <pc:chgData name="Koen Verbeeck" userId="24d0e79a7fd977da" providerId="LiveId" clId="{5CFFFCFA-D4FF-4BF2-A15F-857B5C7E4031}" dt="2025-09-04T19:53:43.566" v="11315"/>
        <pc:sldMkLst>
          <pc:docMk/>
          <pc:sldMk cId="2675434118" sldId="511"/>
        </pc:sldMkLst>
        <pc:spChg chg="mod">
          <ac:chgData name="Koen Verbeeck" userId="24d0e79a7fd977da" providerId="LiveId" clId="{5CFFFCFA-D4FF-4BF2-A15F-857B5C7E4031}" dt="2025-09-04T11:51:24.538" v="7664" actId="20577"/>
          <ac:spMkLst>
            <pc:docMk/>
            <pc:sldMk cId="2675434118" sldId="511"/>
            <ac:spMk id="2" creationId="{B8FC6E27-4486-BA50-2F1B-121104BE907C}"/>
          </ac:spMkLst>
        </pc:spChg>
        <pc:spChg chg="mod">
          <ac:chgData name="Koen Verbeeck" userId="24d0e79a7fd977da" providerId="LiveId" clId="{5CFFFCFA-D4FF-4BF2-A15F-857B5C7E4031}" dt="2025-09-04T13:48:06.343" v="7933" actId="33524"/>
          <ac:spMkLst>
            <pc:docMk/>
            <pc:sldMk cId="2675434118" sldId="511"/>
            <ac:spMk id="3" creationId="{F63D0FB4-CD75-13EC-D25C-10327271E0A6}"/>
          </ac:spMkLst>
        </pc:spChg>
        <pc:spChg chg="add mod">
          <ac:chgData name="Koen Verbeeck" userId="24d0e79a7fd977da" providerId="LiveId" clId="{5CFFFCFA-D4FF-4BF2-A15F-857B5C7E4031}" dt="2025-09-04T13:49:46.203" v="7963" actId="20577"/>
          <ac:spMkLst>
            <pc:docMk/>
            <pc:sldMk cId="2675434118" sldId="511"/>
            <ac:spMk id="5" creationId="{8237C6DC-9459-549E-9DD1-9F40AF5FD674}"/>
          </ac:spMkLst>
        </pc:spChg>
        <pc:spChg chg="add mod">
          <ac:chgData name="Koen Verbeeck" userId="24d0e79a7fd977da" providerId="LiveId" clId="{5CFFFCFA-D4FF-4BF2-A15F-857B5C7E4031}" dt="2025-09-04T13:50:04.926" v="7966"/>
          <ac:spMkLst>
            <pc:docMk/>
            <pc:sldMk cId="2675434118" sldId="511"/>
            <ac:spMk id="6" creationId="{6B9C4FCB-24E8-079F-953E-B68F0C1EF6F7}"/>
          </ac:spMkLst>
        </pc:spChg>
      </pc:sldChg>
      <pc:sldChg chg="addSp modSp new mod modTransition modAnim">
        <pc:chgData name="Koen Verbeeck" userId="24d0e79a7fd977da" providerId="LiveId" clId="{5CFFFCFA-D4FF-4BF2-A15F-857B5C7E4031}" dt="2025-09-04T14:57:10.240" v="9314" actId="20577"/>
        <pc:sldMkLst>
          <pc:docMk/>
          <pc:sldMk cId="702691275" sldId="512"/>
        </pc:sldMkLst>
        <pc:spChg chg="mod">
          <ac:chgData name="Koen Verbeeck" userId="24d0e79a7fd977da" providerId="LiveId" clId="{5CFFFCFA-D4FF-4BF2-A15F-857B5C7E4031}" dt="2025-09-04T13:57:41.918" v="8290" actId="20577"/>
          <ac:spMkLst>
            <pc:docMk/>
            <pc:sldMk cId="702691275" sldId="512"/>
            <ac:spMk id="2" creationId="{B2188DCD-53FE-B03E-F5E4-2FF72B22B004}"/>
          </ac:spMkLst>
        </pc:spChg>
        <pc:spChg chg="mod">
          <ac:chgData name="Koen Verbeeck" userId="24d0e79a7fd977da" providerId="LiveId" clId="{5CFFFCFA-D4FF-4BF2-A15F-857B5C7E4031}" dt="2025-09-04T14:57:10.240" v="9314" actId="20577"/>
          <ac:spMkLst>
            <pc:docMk/>
            <pc:sldMk cId="702691275" sldId="512"/>
            <ac:spMk id="3" creationId="{E46BE975-2117-6E8A-6570-9E6E9FC2C703}"/>
          </ac:spMkLst>
        </pc:spChg>
        <pc:spChg chg="add mod">
          <ac:chgData name="Koen Verbeeck" userId="24d0e79a7fd977da" providerId="LiveId" clId="{5CFFFCFA-D4FF-4BF2-A15F-857B5C7E4031}" dt="2025-09-04T13:54:51.650" v="8167" actId="1076"/>
          <ac:spMkLst>
            <pc:docMk/>
            <pc:sldMk cId="702691275" sldId="512"/>
            <ac:spMk id="5" creationId="{05AADCC4-613C-5392-5CE8-37C1E97FA57C}"/>
          </ac:spMkLst>
        </pc:spChg>
        <pc:picChg chg="add mod">
          <ac:chgData name="Koen Verbeeck" userId="24d0e79a7fd977da" providerId="LiveId" clId="{5CFFFCFA-D4FF-4BF2-A15F-857B5C7E4031}" dt="2025-09-04T13:55:51.456" v="8171" actId="1076"/>
          <ac:picMkLst>
            <pc:docMk/>
            <pc:sldMk cId="702691275" sldId="512"/>
            <ac:picMk id="3074" creationId="{0BFC3DED-0DC4-B627-3AC3-34666DC5522E}"/>
          </ac:picMkLst>
        </pc:picChg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724351363" sldId="513"/>
        </pc:sldMkLst>
        <pc:spChg chg="mod">
          <ac:chgData name="Koen Verbeeck" userId="24d0e79a7fd977da" providerId="LiveId" clId="{5CFFFCFA-D4FF-4BF2-A15F-857B5C7E4031}" dt="2025-09-04T14:00:46.074" v="8379" actId="20577"/>
          <ac:spMkLst>
            <pc:docMk/>
            <pc:sldMk cId="724351363" sldId="513"/>
            <ac:spMk id="2" creationId="{0B7F8BA4-396A-BD32-6194-5C67965B36ED}"/>
          </ac:spMkLst>
        </pc:spChg>
        <pc:spChg chg="mod">
          <ac:chgData name="Koen Verbeeck" userId="24d0e79a7fd977da" providerId="LiveId" clId="{5CFFFCFA-D4FF-4BF2-A15F-857B5C7E4031}" dt="2025-09-04T14:02:14.438" v="8443" actId="27636"/>
          <ac:spMkLst>
            <pc:docMk/>
            <pc:sldMk cId="724351363" sldId="513"/>
            <ac:spMk id="3" creationId="{9BF34895-42C8-E05F-FC40-BBFD0F023E0A}"/>
          </ac:spMkLst>
        </pc:spChg>
        <pc:picChg chg="add mod">
          <ac:chgData name="Koen Verbeeck" userId="24d0e79a7fd977da" providerId="LiveId" clId="{5CFFFCFA-D4FF-4BF2-A15F-857B5C7E4031}" dt="2025-09-04T14:02:20.341" v="8444" actId="1076"/>
          <ac:picMkLst>
            <pc:docMk/>
            <pc:sldMk cId="724351363" sldId="513"/>
            <ac:picMk id="4098" creationId="{2AE01F9F-A531-95A9-5822-3DB132659B33}"/>
          </ac:picMkLst>
        </pc:picChg>
      </pc:sldChg>
      <pc:sldChg chg="new del ord">
        <pc:chgData name="Koen Verbeeck" userId="24d0e79a7fd977da" providerId="LiveId" clId="{5CFFFCFA-D4FF-4BF2-A15F-857B5C7E4031}" dt="2025-09-04T13:57:54.788" v="8294" actId="47"/>
        <pc:sldMkLst>
          <pc:docMk/>
          <pc:sldMk cId="3624842644" sldId="513"/>
        </pc:sldMkLst>
      </pc:sldChg>
      <pc:sldChg chg="addSp delSp modSp add mod modTransition modAnim">
        <pc:chgData name="Koen Verbeeck" userId="24d0e79a7fd977da" providerId="LiveId" clId="{5CFFFCFA-D4FF-4BF2-A15F-857B5C7E4031}" dt="2025-09-04T14:17:13.455" v="9055"/>
        <pc:sldMkLst>
          <pc:docMk/>
          <pc:sldMk cId="2643494070" sldId="514"/>
        </pc:sldMkLst>
        <pc:spChg chg="mod">
          <ac:chgData name="Koen Verbeeck" userId="24d0e79a7fd977da" providerId="LiveId" clId="{5CFFFCFA-D4FF-4BF2-A15F-857B5C7E4031}" dt="2025-09-04T14:06:36.733" v="8609" actId="20577"/>
          <ac:spMkLst>
            <pc:docMk/>
            <pc:sldMk cId="2643494070" sldId="514"/>
            <ac:spMk id="3" creationId="{0E2D93C9-4D7E-54C0-F07D-BCE90623E108}"/>
          </ac:spMkLst>
        </pc:spChg>
        <pc:spChg chg="add mod">
          <ac:chgData name="Koen Verbeeck" userId="24d0e79a7fd977da" providerId="LiveId" clId="{5CFFFCFA-D4FF-4BF2-A15F-857B5C7E4031}" dt="2025-09-04T14:09:26.087" v="8621" actId="1076"/>
          <ac:spMkLst>
            <pc:docMk/>
            <pc:sldMk cId="2643494070" sldId="514"/>
            <ac:spMk id="5" creationId="{C0D0BD73-CECB-CC7B-DC2F-974861743358}"/>
          </ac:spMkLst>
        </pc:spChg>
        <pc:picChg chg="add mod">
          <ac:chgData name="Koen Verbeeck" userId="24d0e79a7fd977da" providerId="LiveId" clId="{5CFFFCFA-D4FF-4BF2-A15F-857B5C7E4031}" dt="2025-09-04T14:06:52.046" v="8613" actId="14100"/>
          <ac:picMkLst>
            <pc:docMk/>
            <pc:sldMk cId="2643494070" sldId="514"/>
            <ac:picMk id="5122" creationId="{FD522DE4-D605-FCE1-443A-153793EE4451}"/>
          </ac:picMkLst>
        </pc:picChg>
        <pc:picChg chg="add mod">
          <ac:chgData name="Koen Verbeeck" userId="24d0e79a7fd977da" providerId="LiveId" clId="{5CFFFCFA-D4FF-4BF2-A15F-857B5C7E4031}" dt="2025-09-04T14:06:54.851" v="8614" actId="1076"/>
          <ac:picMkLst>
            <pc:docMk/>
            <pc:sldMk cId="2643494070" sldId="514"/>
            <ac:picMk id="5124" creationId="{3A30D094-0A4E-6D73-DC47-A1587502C8D5}"/>
          </ac:picMkLst>
        </pc:picChg>
      </pc:sldChg>
      <pc:sldChg chg="addSp modSp new mod modTransition modAnim">
        <pc:chgData name="Koen Verbeeck" userId="24d0e79a7fd977da" providerId="LiveId" clId="{5CFFFCFA-D4FF-4BF2-A15F-857B5C7E4031}" dt="2025-09-04T14:18:25.493" v="9059"/>
        <pc:sldMkLst>
          <pc:docMk/>
          <pc:sldMk cId="3774878860" sldId="515"/>
        </pc:sldMkLst>
        <pc:spChg chg="mod">
          <ac:chgData name="Koen Verbeeck" userId="24d0e79a7fd977da" providerId="LiveId" clId="{5CFFFCFA-D4FF-4BF2-A15F-857B5C7E4031}" dt="2025-09-04T14:10:06.911" v="8649" actId="20577"/>
          <ac:spMkLst>
            <pc:docMk/>
            <pc:sldMk cId="3774878860" sldId="515"/>
            <ac:spMk id="2" creationId="{EE1E535A-677A-466D-4264-46CF2ED26C44}"/>
          </ac:spMkLst>
        </pc:spChg>
        <pc:spChg chg="mod">
          <ac:chgData name="Koen Verbeeck" userId="24d0e79a7fd977da" providerId="LiveId" clId="{5CFFFCFA-D4FF-4BF2-A15F-857B5C7E4031}" dt="2025-09-04T14:15:46.896" v="9048" actId="20577"/>
          <ac:spMkLst>
            <pc:docMk/>
            <pc:sldMk cId="3774878860" sldId="515"/>
            <ac:spMk id="3" creationId="{EBD66A13-4114-62DA-FFEB-C578F63FC48E}"/>
          </ac:spMkLst>
        </pc:spChg>
        <pc:picChg chg="add mod">
          <ac:chgData name="Koen Verbeeck" userId="24d0e79a7fd977da" providerId="LiveId" clId="{5CFFFCFA-D4FF-4BF2-A15F-857B5C7E4031}" dt="2025-09-04T14:16:31.151" v="9051" actId="1076"/>
          <ac:picMkLst>
            <pc:docMk/>
            <pc:sldMk cId="3774878860" sldId="515"/>
            <ac:picMk id="6146" creationId="{EE5E2FAA-C079-1D8B-6142-C3FA4A4FD975}"/>
          </ac:picMkLst>
        </pc:picChg>
      </pc:sldChg>
      <pc:sldChg chg="addSp modSp new del mod modAnim">
        <pc:chgData name="Koen Verbeeck" userId="24d0e79a7fd977da" providerId="LiveId" clId="{5CFFFCFA-D4FF-4BF2-A15F-857B5C7E4031}" dt="2025-09-04T18:47:23.079" v="10948" actId="47"/>
        <pc:sldMkLst>
          <pc:docMk/>
          <pc:sldMk cId="513877084" sldId="516"/>
        </pc:sldMkLst>
      </pc:sldChg>
      <pc:sldChg chg="new del">
        <pc:chgData name="Koen Verbeeck" userId="24d0e79a7fd977da" providerId="LiveId" clId="{5CFFFCFA-D4FF-4BF2-A15F-857B5C7E4031}" dt="2025-09-04T17:40:12.529" v="9316" actId="47"/>
        <pc:sldMkLst>
          <pc:docMk/>
          <pc:sldMk cId="2650532428" sldId="517"/>
        </pc:sldMkLst>
      </pc:sldChg>
      <pc:sldChg chg="addSp modSp add mod modAnim">
        <pc:chgData name="Koen Verbeeck" userId="24d0e79a7fd977da" providerId="LiveId" clId="{5CFFFCFA-D4FF-4BF2-A15F-857B5C7E4031}" dt="2025-09-04T18:32:11.658" v="10389" actId="6549"/>
        <pc:sldMkLst>
          <pc:docMk/>
          <pc:sldMk cId="2728256753" sldId="517"/>
        </pc:sldMkLst>
        <pc:spChg chg="mod">
          <ac:chgData name="Koen Verbeeck" userId="24d0e79a7fd977da" providerId="LiveId" clId="{5CFFFCFA-D4FF-4BF2-A15F-857B5C7E4031}" dt="2025-09-04T17:54:00.261" v="9836" actId="6549"/>
          <ac:spMkLst>
            <pc:docMk/>
            <pc:sldMk cId="2728256753" sldId="517"/>
            <ac:spMk id="3" creationId="{B899EAA1-26F3-40EC-6983-939332AC7632}"/>
          </ac:spMkLst>
        </pc:spChg>
        <pc:spChg chg="mod">
          <ac:chgData name="Koen Verbeeck" userId="24d0e79a7fd977da" providerId="LiveId" clId="{5CFFFCFA-D4FF-4BF2-A15F-857B5C7E4031}" dt="2025-09-04T18:32:11.658" v="10389" actId="6549"/>
          <ac:spMkLst>
            <pc:docMk/>
            <pc:sldMk cId="2728256753" sldId="517"/>
            <ac:spMk id="4" creationId="{E226B6A2-343C-C3EA-A6EB-C3119E070E0E}"/>
          </ac:spMkLst>
        </pc:spChg>
        <pc:spChg chg="add mod">
          <ac:chgData name="Koen Verbeeck" userId="24d0e79a7fd977da" providerId="LiveId" clId="{5CFFFCFA-D4FF-4BF2-A15F-857B5C7E4031}" dt="2025-09-04T17:50:10.290" v="9614" actId="1036"/>
          <ac:spMkLst>
            <pc:docMk/>
            <pc:sldMk cId="2728256753" sldId="517"/>
            <ac:spMk id="6" creationId="{785AB58A-E7BA-ADE8-52FC-6C33FD770463}"/>
          </ac:spMkLst>
        </pc:spChg>
        <pc:spChg chg="add mod">
          <ac:chgData name="Koen Verbeeck" userId="24d0e79a7fd977da" providerId="LiveId" clId="{5CFFFCFA-D4FF-4BF2-A15F-857B5C7E4031}" dt="2025-09-04T17:50:14.639" v="9624" actId="1036"/>
          <ac:spMkLst>
            <pc:docMk/>
            <pc:sldMk cId="2728256753" sldId="517"/>
            <ac:spMk id="7" creationId="{FCDD6ECB-2474-597C-E11F-427A843EEFDB}"/>
          </ac:spMkLst>
        </pc:spChg>
        <pc:spChg chg="add mod">
          <ac:chgData name="Koen Verbeeck" userId="24d0e79a7fd977da" providerId="LiveId" clId="{5CFFFCFA-D4FF-4BF2-A15F-857B5C7E4031}" dt="2025-09-04T17:50:14.639" v="9624" actId="1036"/>
          <ac:spMkLst>
            <pc:docMk/>
            <pc:sldMk cId="2728256753" sldId="517"/>
            <ac:spMk id="8" creationId="{C87F5F95-A618-8D19-8174-B25F4B3C57A9}"/>
          </ac:spMkLst>
        </pc:spChg>
      </pc:sldChg>
      <pc:sldChg chg="addSp modSp new mod">
        <pc:chgData name="Koen Verbeeck" userId="24d0e79a7fd977da" providerId="LiveId" clId="{5CFFFCFA-D4FF-4BF2-A15F-857B5C7E4031}" dt="2025-09-04T18:12:08.934" v="9956" actId="1076"/>
        <pc:sldMkLst>
          <pc:docMk/>
          <pc:sldMk cId="93698075" sldId="518"/>
        </pc:sldMkLst>
        <pc:spChg chg="mod">
          <ac:chgData name="Koen Verbeeck" userId="24d0e79a7fd977da" providerId="LiveId" clId="{5CFFFCFA-D4FF-4BF2-A15F-857B5C7E4031}" dt="2025-09-04T17:56:17.540" v="9876" actId="20577"/>
          <ac:spMkLst>
            <pc:docMk/>
            <pc:sldMk cId="93698075" sldId="518"/>
            <ac:spMk id="2" creationId="{10C8A398-9699-59A0-8CF6-A4337477BE58}"/>
          </ac:spMkLst>
        </pc:spChg>
        <pc:spChg chg="mod">
          <ac:chgData name="Koen Verbeeck" userId="24d0e79a7fd977da" providerId="LiveId" clId="{5CFFFCFA-D4FF-4BF2-A15F-857B5C7E4031}" dt="2025-09-04T18:11:15.247" v="9952" actId="207"/>
          <ac:spMkLst>
            <pc:docMk/>
            <pc:sldMk cId="93698075" sldId="518"/>
            <ac:spMk id="3" creationId="{B228A4B1-760C-8745-69CF-5769B9A28032}"/>
          </ac:spMkLst>
        </pc:spChg>
        <pc:picChg chg="add mod">
          <ac:chgData name="Koen Verbeeck" userId="24d0e79a7fd977da" providerId="LiveId" clId="{5CFFFCFA-D4FF-4BF2-A15F-857B5C7E4031}" dt="2025-09-04T18:12:08.934" v="9956" actId="1076"/>
          <ac:picMkLst>
            <pc:docMk/>
            <pc:sldMk cId="93698075" sldId="518"/>
            <ac:picMk id="5" creationId="{44BEE7E8-0C06-8F04-7B4F-76C981864D86}"/>
          </ac:picMkLst>
        </pc:picChg>
      </pc:sldChg>
      <pc:sldChg chg="addSp modSp new mod modAnim">
        <pc:chgData name="Koen Verbeeck" userId="24d0e79a7fd977da" providerId="LiveId" clId="{5CFFFCFA-D4FF-4BF2-A15F-857B5C7E4031}" dt="2025-09-04T18:28:01.915" v="10387"/>
        <pc:sldMkLst>
          <pc:docMk/>
          <pc:sldMk cId="1414157448" sldId="519"/>
        </pc:sldMkLst>
        <pc:spChg chg="mod">
          <ac:chgData name="Koen Verbeeck" userId="24d0e79a7fd977da" providerId="LiveId" clId="{5CFFFCFA-D4FF-4BF2-A15F-857B5C7E4031}" dt="2025-09-04T18:12:33.827" v="9978" actId="20577"/>
          <ac:spMkLst>
            <pc:docMk/>
            <pc:sldMk cId="1414157448" sldId="519"/>
            <ac:spMk id="2" creationId="{DAD5AA7F-3E53-840A-84F8-DBE749540D15}"/>
          </ac:spMkLst>
        </pc:spChg>
        <pc:spChg chg="mod">
          <ac:chgData name="Koen Verbeeck" userId="24d0e79a7fd977da" providerId="LiveId" clId="{5CFFFCFA-D4FF-4BF2-A15F-857B5C7E4031}" dt="2025-09-04T18:27:49.412" v="10383" actId="20577"/>
          <ac:spMkLst>
            <pc:docMk/>
            <pc:sldMk cId="1414157448" sldId="519"/>
            <ac:spMk id="3" creationId="{3AFD3C6F-0DEC-0384-7EA2-12961462D6C0}"/>
          </ac:spMkLst>
        </pc:spChg>
        <pc:picChg chg="add mod">
          <ac:chgData name="Koen Verbeeck" userId="24d0e79a7fd977da" providerId="LiveId" clId="{5CFFFCFA-D4FF-4BF2-A15F-857B5C7E4031}" dt="2025-09-04T18:19:49.541" v="10099" actId="1076"/>
          <ac:picMkLst>
            <pc:docMk/>
            <pc:sldMk cId="1414157448" sldId="519"/>
            <ac:picMk id="5" creationId="{E9D95224-54C6-D038-A4AF-5E34E45D85E4}"/>
          </ac:picMkLst>
        </pc:picChg>
        <pc:picChg chg="add mod">
          <ac:chgData name="Koen Verbeeck" userId="24d0e79a7fd977da" providerId="LiveId" clId="{5CFFFCFA-D4FF-4BF2-A15F-857B5C7E4031}" dt="2025-09-04T18:20:21.886" v="10103" actId="1076"/>
          <ac:picMkLst>
            <pc:docMk/>
            <pc:sldMk cId="1414157448" sldId="519"/>
            <ac:picMk id="7" creationId="{DC63AC44-713A-9852-675C-61B7BA6665F3}"/>
          </ac:picMkLst>
        </pc:picChg>
      </pc:sldChg>
      <pc:sldChg chg="addSp modSp new mod modAnim">
        <pc:chgData name="Koen Verbeeck" userId="24d0e79a7fd977da" providerId="LiveId" clId="{5CFFFCFA-D4FF-4BF2-A15F-857B5C7E4031}" dt="2025-09-04T18:27:41.945" v="10377"/>
        <pc:sldMkLst>
          <pc:docMk/>
          <pc:sldMk cId="2861091757" sldId="520"/>
        </pc:sldMkLst>
        <pc:spChg chg="mod">
          <ac:chgData name="Koen Verbeeck" userId="24d0e79a7fd977da" providerId="LiveId" clId="{5CFFFCFA-D4FF-4BF2-A15F-857B5C7E4031}" dt="2025-09-04T18:21:55.629" v="10186" actId="20577"/>
          <ac:spMkLst>
            <pc:docMk/>
            <pc:sldMk cId="2861091757" sldId="520"/>
            <ac:spMk id="2" creationId="{40B177FC-5367-C06F-F070-AC00B143D31A}"/>
          </ac:spMkLst>
        </pc:spChg>
        <pc:spChg chg="mod">
          <ac:chgData name="Koen Verbeeck" userId="24d0e79a7fd977da" providerId="LiveId" clId="{5CFFFCFA-D4FF-4BF2-A15F-857B5C7E4031}" dt="2025-09-04T18:26:57.951" v="10364" actId="20577"/>
          <ac:spMkLst>
            <pc:docMk/>
            <pc:sldMk cId="2861091757" sldId="520"/>
            <ac:spMk id="3" creationId="{EB70DF88-9756-B070-8B43-74A44E0BE658}"/>
          </ac:spMkLst>
        </pc:spChg>
        <pc:picChg chg="add mod">
          <ac:chgData name="Koen Verbeeck" userId="24d0e79a7fd977da" providerId="LiveId" clId="{5CFFFCFA-D4FF-4BF2-A15F-857B5C7E4031}" dt="2025-09-04T18:27:10.747" v="10374" actId="1036"/>
          <ac:picMkLst>
            <pc:docMk/>
            <pc:sldMk cId="2861091757" sldId="520"/>
            <ac:picMk id="5" creationId="{159DED99-51E0-B185-0D5A-7BFECD3E5815}"/>
          </ac:picMkLst>
        </pc:picChg>
      </pc:sldChg>
      <pc:sldChg chg="addSp delSp modSp new mod modClrScheme modAnim chgLayout">
        <pc:chgData name="Koen Verbeeck" userId="24d0e79a7fd977da" providerId="LiveId" clId="{5CFFFCFA-D4FF-4BF2-A15F-857B5C7E4031}" dt="2025-09-04T18:49:19.544" v="11112"/>
        <pc:sldMkLst>
          <pc:docMk/>
          <pc:sldMk cId="2494450395" sldId="521"/>
        </pc:sldMkLst>
        <pc:spChg chg="add mod ord">
          <ac:chgData name="Koen Verbeeck" userId="24d0e79a7fd977da" providerId="LiveId" clId="{5CFFFCFA-D4FF-4BF2-A15F-857B5C7E4031}" dt="2025-09-04T18:32:38.840" v="10401" actId="20577"/>
          <ac:spMkLst>
            <pc:docMk/>
            <pc:sldMk cId="2494450395" sldId="521"/>
            <ac:spMk id="4" creationId="{82F54725-DB6E-98A0-7670-25009E48A9EA}"/>
          </ac:spMkLst>
        </pc:spChg>
        <pc:spChg chg="add mod ord">
          <ac:chgData name="Koen Verbeeck" userId="24d0e79a7fd977da" providerId="LiveId" clId="{5CFFFCFA-D4FF-4BF2-A15F-857B5C7E4031}" dt="2025-09-04T18:49:06.558" v="11111" actId="20577"/>
          <ac:spMkLst>
            <pc:docMk/>
            <pc:sldMk cId="2494450395" sldId="521"/>
            <ac:spMk id="5" creationId="{7EC336D5-3FA6-49E9-81D4-514360D923FD}"/>
          </ac:spMkLst>
        </pc:spChg>
        <pc:picChg chg="add mod">
          <ac:chgData name="Koen Verbeeck" userId="24d0e79a7fd977da" providerId="LiveId" clId="{5CFFFCFA-D4FF-4BF2-A15F-857B5C7E4031}" dt="2025-09-04T18:32:52.151" v="10404" actId="1076"/>
          <ac:picMkLst>
            <pc:docMk/>
            <pc:sldMk cId="2494450395" sldId="521"/>
            <ac:picMk id="6" creationId="{AB2BB59B-E670-C327-F7D7-958B3ACF1A51}"/>
          </ac:picMkLst>
        </pc:picChg>
      </pc:sldChg>
      <pc:sldChg chg="addSp modSp new mod">
        <pc:chgData name="Koen Verbeeck" userId="24d0e79a7fd977da" providerId="LiveId" clId="{5CFFFCFA-D4FF-4BF2-A15F-857B5C7E4031}" dt="2025-09-04T18:38:18.606" v="10880" actId="1076"/>
        <pc:sldMkLst>
          <pc:docMk/>
          <pc:sldMk cId="4097993402" sldId="522"/>
        </pc:sldMkLst>
        <pc:spChg chg="mod">
          <ac:chgData name="Koen Verbeeck" userId="24d0e79a7fd977da" providerId="LiveId" clId="{5CFFFCFA-D4FF-4BF2-A15F-857B5C7E4031}" dt="2025-09-04T18:35:12.309" v="10786" actId="20577"/>
          <ac:spMkLst>
            <pc:docMk/>
            <pc:sldMk cId="4097993402" sldId="522"/>
            <ac:spMk id="2" creationId="{89A5435C-2B4B-946B-48C9-6C2DAA621621}"/>
          </ac:spMkLst>
        </pc:spChg>
        <pc:spChg chg="mod">
          <ac:chgData name="Koen Verbeeck" userId="24d0e79a7fd977da" providerId="LiveId" clId="{5CFFFCFA-D4FF-4BF2-A15F-857B5C7E4031}" dt="2025-09-04T18:38:15.055" v="10878" actId="1076"/>
          <ac:spMkLst>
            <pc:docMk/>
            <pc:sldMk cId="4097993402" sldId="522"/>
            <ac:spMk id="3" creationId="{FCDD8B16-7864-932D-4D0F-AA4C209ED630}"/>
          </ac:spMkLst>
        </pc:spChg>
        <pc:picChg chg="add mod">
          <ac:chgData name="Koen Verbeeck" userId="24d0e79a7fd977da" providerId="LiveId" clId="{5CFFFCFA-D4FF-4BF2-A15F-857B5C7E4031}" dt="2025-09-04T18:38:18.606" v="10880" actId="1076"/>
          <ac:picMkLst>
            <pc:docMk/>
            <pc:sldMk cId="4097993402" sldId="522"/>
            <ac:picMk id="5" creationId="{F3E2A580-E875-6D61-3647-90EC175E732E}"/>
          </ac:picMkLst>
        </pc:picChg>
      </pc:sldChg>
      <pc:sldChg chg="addSp modSp new mod">
        <pc:chgData name="Koen Verbeeck" userId="24d0e79a7fd977da" providerId="LiveId" clId="{5CFFFCFA-D4FF-4BF2-A15F-857B5C7E4031}" dt="2025-09-04T18:54:24.362" v="11166"/>
        <pc:sldMkLst>
          <pc:docMk/>
          <pc:sldMk cId="2704972891" sldId="523"/>
        </pc:sldMkLst>
        <pc:spChg chg="mod">
          <ac:chgData name="Koen Verbeeck" userId="24d0e79a7fd977da" providerId="LiveId" clId="{5CFFFCFA-D4FF-4BF2-A15F-857B5C7E4031}" dt="2025-09-04T18:40:42.608" v="10894" actId="20577"/>
          <ac:spMkLst>
            <pc:docMk/>
            <pc:sldMk cId="2704972891" sldId="523"/>
            <ac:spMk id="2" creationId="{06386DEE-3122-2679-3621-E6F489437280}"/>
          </ac:spMkLst>
        </pc:spChg>
        <pc:spChg chg="mod">
          <ac:chgData name="Koen Verbeeck" userId="24d0e79a7fd977da" providerId="LiveId" clId="{5CFFFCFA-D4FF-4BF2-A15F-857B5C7E4031}" dt="2025-09-04T18:54:24.362" v="11166"/>
          <ac:spMkLst>
            <pc:docMk/>
            <pc:sldMk cId="2704972891" sldId="523"/>
            <ac:spMk id="3" creationId="{CAEC71AC-C3B4-EDF1-2034-A77A82A839EB}"/>
          </ac:spMkLst>
        </pc:spChg>
        <pc:picChg chg="add mod">
          <ac:chgData name="Koen Verbeeck" userId="24d0e79a7fd977da" providerId="LiveId" clId="{5CFFFCFA-D4FF-4BF2-A15F-857B5C7E4031}" dt="2025-09-04T18:42:39.238" v="10905" actId="1076"/>
          <ac:picMkLst>
            <pc:docMk/>
            <pc:sldMk cId="2704972891" sldId="523"/>
            <ac:picMk id="4" creationId="{14A5ABB3-73E7-806E-1D7E-177B3D887AF6}"/>
          </ac:picMkLst>
        </pc:picChg>
        <pc:picChg chg="add mod">
          <ac:chgData name="Koen Verbeeck" userId="24d0e79a7fd977da" providerId="LiveId" clId="{5CFFFCFA-D4FF-4BF2-A15F-857B5C7E4031}" dt="2025-09-04T18:42:39.238" v="10905" actId="1076"/>
          <ac:picMkLst>
            <pc:docMk/>
            <pc:sldMk cId="2704972891" sldId="523"/>
            <ac:picMk id="8194" creationId="{DD35C7ED-633D-E93C-D1B3-9A52D65156B8}"/>
          </ac:picMkLst>
        </pc:picChg>
      </pc:sldChg>
      <pc:sldChg chg="add del setBg">
        <pc:chgData name="Koen Verbeeck" userId="24d0e79a7fd977da" providerId="LiveId" clId="{5CFFFCFA-D4FF-4BF2-A15F-857B5C7E4031}" dt="2025-09-04T18:46:29.432" v="10930"/>
        <pc:sldMkLst>
          <pc:docMk/>
          <pc:sldMk cId="2996669740" sldId="524"/>
        </pc:sldMkLst>
      </pc:sldChg>
      <pc:sldChg chg="addSp delSp modSp add del mod delAnim modAnim">
        <pc:chgData name="Koen Verbeeck" userId="24d0e79a7fd977da" providerId="LiveId" clId="{5CFFFCFA-D4FF-4BF2-A15F-857B5C7E4031}" dt="2025-09-04T20:05:34.440" v="11317" actId="20577"/>
        <pc:sldMkLst>
          <pc:docMk/>
          <pc:sldMk cId="4047927763" sldId="524"/>
        </pc:sldMkLst>
        <pc:spChg chg="add mod">
          <ac:chgData name="Koen Verbeeck" userId="24d0e79a7fd977da" providerId="LiveId" clId="{5CFFFCFA-D4FF-4BF2-A15F-857B5C7E4031}" dt="2025-09-04T18:46:55.650" v="10943"/>
          <ac:spMkLst>
            <pc:docMk/>
            <pc:sldMk cId="4047927763" sldId="524"/>
            <ac:spMk id="2" creationId="{ABF0EF79-18CD-F301-24E0-E71A3177C354}"/>
          </ac:spMkLst>
        </pc:spChg>
        <pc:spChg chg="add mod">
          <ac:chgData name="Koen Verbeeck" userId="24d0e79a7fd977da" providerId="LiveId" clId="{5CFFFCFA-D4FF-4BF2-A15F-857B5C7E4031}" dt="2025-09-04T18:47:00.804" v="10944"/>
          <ac:spMkLst>
            <pc:docMk/>
            <pc:sldMk cId="4047927763" sldId="524"/>
            <ac:spMk id="3" creationId="{87462B4A-07A7-FEE4-7F88-A31B3F48A858}"/>
          </ac:spMkLst>
        </pc:spChg>
        <pc:spChg chg="add mod">
          <ac:chgData name="Koen Verbeeck" userId="24d0e79a7fd977da" providerId="LiveId" clId="{5CFFFCFA-D4FF-4BF2-A15F-857B5C7E4031}" dt="2025-09-04T18:47:05.940" v="10945"/>
          <ac:spMkLst>
            <pc:docMk/>
            <pc:sldMk cId="4047927763" sldId="524"/>
            <ac:spMk id="5" creationId="{FD8D0F0D-96FC-1BAD-62A9-2EDB1366A208}"/>
          </ac:spMkLst>
        </pc:spChg>
        <pc:spChg chg="mod">
          <ac:chgData name="Koen Verbeeck" userId="24d0e79a7fd977da" providerId="LiveId" clId="{5CFFFCFA-D4FF-4BF2-A15F-857B5C7E4031}" dt="2025-09-04T20:05:34.440" v="11317" actId="20577"/>
          <ac:spMkLst>
            <pc:docMk/>
            <pc:sldMk cId="4047927763" sldId="524"/>
            <ac:spMk id="11" creationId="{F6A3F37F-4D2E-037E-F2CF-7157E315FD96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13" creationId="{A5BF7822-5648-A15E-2540-308646BE3C7D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18" creationId="{127FB259-E86D-7D3C-B28E-DB73393EB8E4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19" creationId="{5A04F776-900E-4D3F-86DB-3E8A1D776346}"/>
          </ac:spMkLst>
        </pc:spChg>
        <pc:spChg chg="add mod">
          <ac:chgData name="Koen Verbeeck" userId="24d0e79a7fd977da" providerId="LiveId" clId="{5CFFFCFA-D4FF-4BF2-A15F-857B5C7E4031}" dt="2025-09-04T18:47:18.957" v="10947"/>
          <ac:spMkLst>
            <pc:docMk/>
            <pc:sldMk cId="4047927763" sldId="524"/>
            <ac:spMk id="20" creationId="{3768D49F-90F0-539B-A311-7AE240E3F85E}"/>
          </ac:spMkLst>
        </pc:spChg>
        <pc:picChg chg="add mod">
          <ac:chgData name="Koen Verbeeck" userId="24d0e79a7fd977da" providerId="LiveId" clId="{5CFFFCFA-D4FF-4BF2-A15F-857B5C7E4031}" dt="2025-09-04T18:47:12.848" v="10946"/>
          <ac:picMkLst>
            <pc:docMk/>
            <pc:sldMk cId="4047927763" sldId="524"/>
            <ac:picMk id="7" creationId="{F5EEE35E-23E5-AB53-1F31-1EC1FCB81312}"/>
          </ac:picMkLst>
        </pc:picChg>
        <pc:picChg chg="add mod">
          <ac:chgData name="Koen Verbeeck" userId="24d0e79a7fd977da" providerId="LiveId" clId="{5CFFFCFA-D4FF-4BF2-A15F-857B5C7E4031}" dt="2025-09-04T18:47:18.957" v="10947"/>
          <ac:picMkLst>
            <pc:docMk/>
            <pc:sldMk cId="4047927763" sldId="524"/>
            <ac:picMk id="12" creationId="{35925C47-1A30-408E-8D18-EB9A390443D4}"/>
          </ac:picMkLst>
        </pc:picChg>
      </pc:sldChg>
      <pc:sldChg chg="add del setBg">
        <pc:chgData name="Koen Verbeeck" userId="24d0e79a7fd977da" providerId="LiveId" clId="{5CFFFCFA-D4FF-4BF2-A15F-857B5C7E4031}" dt="2025-09-04T20:05:45.223" v="11319"/>
        <pc:sldMkLst>
          <pc:docMk/>
          <pc:sldMk cId="2746089989" sldId="525"/>
        </pc:sldMkLst>
      </pc:sldChg>
      <pc:sldChg chg="addSp delSp modSp add mod delAnim modAnim">
        <pc:chgData name="Koen Verbeeck" userId="24d0e79a7fd977da" providerId="LiveId" clId="{5CFFFCFA-D4FF-4BF2-A15F-857B5C7E4031}" dt="2025-09-04T20:14:01.295" v="11375" actId="14100"/>
        <pc:sldMkLst>
          <pc:docMk/>
          <pc:sldMk cId="4224728972" sldId="525"/>
        </pc:sldMkLst>
        <pc:spChg chg="mod">
          <ac:chgData name="Koen Verbeeck" userId="24d0e79a7fd977da" providerId="LiveId" clId="{5CFFFCFA-D4FF-4BF2-A15F-857B5C7E4031}" dt="2025-09-04T20:05:54.815" v="11341" actId="20577"/>
          <ac:spMkLst>
            <pc:docMk/>
            <pc:sldMk cId="4224728972" sldId="525"/>
            <ac:spMk id="3" creationId="{4D1A3C32-6C02-8C74-0672-F28C28ED1956}"/>
          </ac:spMkLst>
        </pc:spChg>
        <pc:spChg chg="mod">
          <ac:chgData name="Koen Verbeeck" userId="24d0e79a7fd977da" providerId="LiveId" clId="{5CFFFCFA-D4FF-4BF2-A15F-857B5C7E4031}" dt="2025-09-04T20:05:48.277" v="11322" actId="20577"/>
          <ac:spMkLst>
            <pc:docMk/>
            <pc:sldMk cId="4224728972" sldId="525"/>
            <ac:spMk id="11" creationId="{B0D5826A-D40E-A172-33BC-A29B3E8F21ED}"/>
          </ac:spMkLst>
        </pc:spChg>
        <pc:spChg chg="mod">
          <ac:chgData name="Koen Verbeeck" userId="24d0e79a7fd977da" providerId="LiveId" clId="{5CFFFCFA-D4FF-4BF2-A15F-857B5C7E4031}" dt="2025-09-04T20:11:20.330" v="11366" actId="14100"/>
          <ac:spMkLst>
            <pc:docMk/>
            <pc:sldMk cId="4224728972" sldId="525"/>
            <ac:spMk id="13" creationId="{77DE16AE-411F-3BD2-FB88-92A23BB2CAC2}"/>
          </ac:spMkLst>
        </pc:spChg>
        <pc:spChg chg="add mod">
          <ac:chgData name="Koen Verbeeck" userId="24d0e79a7fd977da" providerId="LiveId" clId="{5CFFFCFA-D4FF-4BF2-A15F-857B5C7E4031}" dt="2025-09-04T20:14:01.295" v="11375" actId="14100"/>
          <ac:spMkLst>
            <pc:docMk/>
            <pc:sldMk cId="4224728972" sldId="525"/>
            <ac:spMk id="14" creationId="{0B4D65AA-6F1A-1AA7-0C83-17948AFED9B4}"/>
          </ac:spMkLst>
        </pc:spChg>
        <pc:spChg chg="mod">
          <ac:chgData name="Koen Verbeeck" userId="24d0e79a7fd977da" providerId="LiveId" clId="{5CFFFCFA-D4FF-4BF2-A15F-857B5C7E4031}" dt="2025-09-04T20:11:23.938" v="11367" actId="1076"/>
          <ac:spMkLst>
            <pc:docMk/>
            <pc:sldMk cId="4224728972" sldId="525"/>
            <ac:spMk id="19" creationId="{0D6AA060-ACD4-9CDF-0E1E-77AA02A9303F}"/>
          </ac:spMkLst>
        </pc:spChg>
        <pc:spChg chg="add mod">
          <ac:chgData name="Koen Verbeeck" userId="24d0e79a7fd977da" providerId="LiveId" clId="{5CFFFCFA-D4FF-4BF2-A15F-857B5C7E4031}" dt="2025-09-04T20:13:54.852" v="11374" actId="14100"/>
          <ac:spMkLst>
            <pc:docMk/>
            <pc:sldMk cId="4224728972" sldId="525"/>
            <ac:spMk id="25" creationId="{8F395EE8-5C5C-5371-C414-43DCFBF3F2A0}"/>
          </ac:spMkLst>
        </pc:spChg>
        <pc:picChg chg="add mod ord">
          <ac:chgData name="Koen Verbeeck" userId="24d0e79a7fd977da" providerId="LiveId" clId="{5CFFFCFA-D4FF-4BF2-A15F-857B5C7E4031}" dt="2025-09-04T20:13:25.704" v="11369" actId="167"/>
          <ac:picMkLst>
            <pc:docMk/>
            <pc:sldMk cId="4224728972" sldId="525"/>
            <ac:picMk id="22" creationId="{509B55B8-7416-7035-ED20-5E23822F0B7F}"/>
          </ac:picMkLst>
        </pc:picChg>
        <pc:picChg chg="add mod ord">
          <ac:chgData name="Koen Verbeeck" userId="24d0e79a7fd977da" providerId="LiveId" clId="{5CFFFCFA-D4FF-4BF2-A15F-857B5C7E4031}" dt="2025-09-04T20:10:18.579" v="11361" actId="167"/>
          <ac:picMkLst>
            <pc:docMk/>
            <pc:sldMk cId="4224728972" sldId="525"/>
            <ac:picMk id="24" creationId="{D7B39971-7B68-0934-F44D-FD3CAB2EDBDA}"/>
          </ac:picMkLst>
        </pc:picChg>
      </pc:sldChg>
      <pc:sldMasterChg chg="delSp mod modSldLayout">
        <pc:chgData name="Koen Verbeeck" userId="24d0e79a7fd977da" providerId="LiveId" clId="{5CFFFCFA-D4FF-4BF2-A15F-857B5C7E4031}" dt="2025-08-11T19:08:57.494" v="2208" actId="478"/>
        <pc:sldMasterMkLst>
          <pc:docMk/>
          <pc:sldMasterMk cId="989566460" sldId="2147483709"/>
        </pc:sldMasterMkLst>
        <pc:sldLayoutChg chg="delSp mod">
          <pc:chgData name="Koen Verbeeck" userId="24d0e79a7fd977da" providerId="LiveId" clId="{5CFFFCFA-D4FF-4BF2-A15F-857B5C7E4031}" dt="2025-08-11T19:08:45.297" v="2203" actId="478"/>
          <pc:sldLayoutMkLst>
            <pc:docMk/>
            <pc:sldMasterMk cId="989566460" sldId="2147483709"/>
            <pc:sldLayoutMk cId="3335376948" sldId="2147483728"/>
          </pc:sldLayoutMkLst>
        </pc:sldLayoutChg>
        <pc:sldLayoutChg chg="delSp mod">
          <pc:chgData name="Koen Verbeeck" userId="24d0e79a7fd977da" providerId="LiveId" clId="{5CFFFCFA-D4FF-4BF2-A15F-857B5C7E4031}" dt="2025-08-11T19:08:47.994" v="2204" actId="478"/>
          <pc:sldLayoutMkLst>
            <pc:docMk/>
            <pc:sldMasterMk cId="989566460" sldId="2147483709"/>
            <pc:sldLayoutMk cId="1457103276" sldId="2147483729"/>
          </pc:sldLayoutMkLst>
        </pc:sldLayoutChg>
        <pc:sldLayoutChg chg="delSp mod">
          <pc:chgData name="Koen Verbeeck" userId="24d0e79a7fd977da" providerId="LiveId" clId="{5CFFFCFA-D4FF-4BF2-A15F-857B5C7E4031}" dt="2025-08-11T19:08:50.694" v="2205" actId="478"/>
          <pc:sldLayoutMkLst>
            <pc:docMk/>
            <pc:sldMasterMk cId="989566460" sldId="2147483709"/>
            <pc:sldLayoutMk cId="3208297094" sldId="2147483730"/>
          </pc:sldLayoutMkLst>
        </pc:sldLayoutChg>
        <pc:sldLayoutChg chg="delSp mod">
          <pc:chgData name="Koen Verbeeck" userId="24d0e79a7fd977da" providerId="LiveId" clId="{5CFFFCFA-D4FF-4BF2-A15F-857B5C7E4031}" dt="2025-08-11T19:08:53.114" v="2206" actId="478"/>
          <pc:sldLayoutMkLst>
            <pc:docMk/>
            <pc:sldMasterMk cId="989566460" sldId="2147483709"/>
            <pc:sldLayoutMk cId="16150338" sldId="2147483732"/>
          </pc:sldLayoutMkLst>
        </pc:sldLayoutChg>
        <pc:sldLayoutChg chg="delSp mod">
          <pc:chgData name="Koen Verbeeck" userId="24d0e79a7fd977da" providerId="LiveId" clId="{5CFFFCFA-D4FF-4BF2-A15F-857B5C7E4031}" dt="2025-08-11T19:08:55.579" v="2207" actId="478"/>
          <pc:sldLayoutMkLst>
            <pc:docMk/>
            <pc:sldMasterMk cId="989566460" sldId="2147483709"/>
            <pc:sldLayoutMk cId="3663304677" sldId="2147483733"/>
          </pc:sldLayoutMkLst>
        </pc:sldLayoutChg>
        <pc:sldLayoutChg chg="delSp mod">
          <pc:chgData name="Koen Verbeeck" userId="24d0e79a7fd977da" providerId="LiveId" clId="{5CFFFCFA-D4FF-4BF2-A15F-857B5C7E4031}" dt="2025-08-11T19:08:57.494" v="2208" actId="478"/>
          <pc:sldLayoutMkLst>
            <pc:docMk/>
            <pc:sldMasterMk cId="989566460" sldId="2147483709"/>
            <pc:sldLayoutMk cId="2810606429" sldId="2147483734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E0D86-2B18-484E-A059-36A13C48AE65}" type="datetimeFigureOut">
              <a:rPr lang="en-US" smtClean="0"/>
              <a:t>10/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7FB1D-E27C-3C4E-ADA0-85747A60B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D865D-8AD5-164D-87A7-DE5F6A4AAE52}" type="datetimeFigureOut">
              <a:rPr lang="en-US" smtClean="0"/>
              <a:t>10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9F00E-9A68-9A45-9A40-54379875F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497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FD2E09-072C-B746-994E-E046AF2866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054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3001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16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8604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A1106-7F7C-FF64-D1C7-721BD34DEA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E43CF2-D801-9980-846E-C39E272265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39A7FF-8288-24C8-774E-66A485AFFE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0E58DB-19B2-4202-9EDC-B3BDC9313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8629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 is a memory-optimized columnar storage for an index</a:t>
            </a:r>
          </a:p>
          <a:p>
            <a:r>
              <a:rPr lang="en-US" dirty="0"/>
              <a:t>It’s particularly aimed at data warehouses.</a:t>
            </a:r>
          </a:p>
          <a:p>
            <a:r>
              <a:rPr lang="en-US" dirty="0"/>
              <a:t>It can drastically improve performance. BTW they are not exactly “in-memory”.</a:t>
            </a:r>
          </a:p>
          <a:p>
            <a:endParaRPr lang="en-US" dirty="0"/>
          </a:p>
          <a:p>
            <a:r>
              <a:rPr lang="en-US" dirty="0"/>
              <a:t>The example here is typical </a:t>
            </a:r>
            <a:r>
              <a:rPr lang="en-US" dirty="0" err="1"/>
              <a:t>rowstorage</a:t>
            </a:r>
            <a:r>
              <a:rPr lang="en-US" dirty="0"/>
              <a:t>, as we have known it for years.</a:t>
            </a: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3988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ecause the data is stored as columns, it can be compressed much better. Since the compression is much better, more data can fit into memory. Also, a CI allows you to read only the columns that you actually need, reducing IO drastically.</a:t>
            </a:r>
          </a:p>
          <a:p>
            <a:endParaRPr lang="nl-BE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7490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,048,576 = 1024 * 1024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g enough for good compression, small enough to fit into memory</a:t>
            </a:r>
            <a:endParaRPr lang="en-US" dirty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0403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gment elimination. If you have large rowgroups in a small table, scanning the entire rowgroup probably isn’t as efficient as a normal B-tree index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reality, this is hard to achieve because not all your columns are sorted. Trick: apply clustered index to one column, than apply CCI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 data is sorted according to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orginal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 clustered index.</a:t>
            </a:r>
            <a:endParaRPr lang="en-US" dirty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1340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58105-B90D-B996-E641-CB7919EBDB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7B01F6-7444-C417-EB90-37DD210A94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A3A84F-7254-7024-38D8-2E386AE28C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22B5BF-D93C-3CA0-4B67-77596EFCEC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9F00E-9A68-9A45-9A40-54379875F4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1502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215DFA-47B4-6BBE-DBE2-FC0FB8CDB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85798D-7507-80C0-C4A3-E548223940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7A5F88-A881-324D-D362-E1B7BECF4E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A912AA-4713-765D-E46A-D084A57ED7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9F00E-9A68-9A45-9A40-54379875F4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316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3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884517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D2E09-072C-B746-994E-E046AF286656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101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7FBA9-9EAE-FC8B-DD1B-F09E836FA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FBEEC9-5039-4335-9E83-24FE39AED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BAFFB2-2F0C-1A87-BD5F-3BCB5401E0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702252-265D-D90D-B41D-AD89E80B60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F6258-B281-49EC-9D26-DA5F2F7B4208}" type="slidenum">
              <a:rPr lang="nl-BE" smtClean="0"/>
              <a:t>4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63480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cause you can fix a massive performance issues with a query using a single index. Suddenly a query that runs for minutes or hours can finish in seconds or even les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29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specially SELECT queries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66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9451E-DFD0-5591-0B2B-880C66F33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0F8BB2-D632-DD4A-4015-A3CBEF8F65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DD316F-9AE9-499E-04BB-B921730B76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S will be slower, DELETES &amp; UPDATES might be slower, might be faster, it depends</a:t>
            </a:r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69830E-D17A-977A-9735-667F7AA7A7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21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71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table without a clustered index is a heap. Looking for a row means scanning through the whole table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050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D6D6E-5EDA-A44A-AFD3-A24A17FFE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7F030F-9850-09D6-5452-C2CB0123F4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5C6ECF-4911-69E6-43B7-4330936EF0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67B97-81A4-9619-B29E-370050B95F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19F00E-9A68-9A45-9A40-54379875F4A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947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4137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75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33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0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78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2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64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84977629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98493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89058227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37694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04232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103276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297094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11904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338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30467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606429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1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64318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0982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03725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304510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771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495545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275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922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3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67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67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306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822597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7878393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702867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0/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23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42A5C-783E-5BA9-3109-C64CED2BD0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B33CFD-A946-6B59-6637-07BE5A9402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5DE59D-9E34-8B0B-7133-E2667BAA1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FE38BE-C4FA-E7EE-5F81-087480165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A8298-BF49-FF15-2E61-9A4524E2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535364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E19A2-FAAB-EC35-BB91-98136F171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85DE23-5F6A-A26C-77B7-02FEB26266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6BA52-673F-EAEF-0B65-91340AB70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9A0AB-2D39-1CEC-81CA-AFE1E4AE5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982C90-F87C-EB7B-0357-1F575A7DE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332559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50F33-03F3-8659-6BAE-187693987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0C8AE0-AAD2-56CF-6DD8-69F63CA83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1D271-09E6-FC5A-A392-8474C4969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CF9F4E-F8CD-81EF-DD84-216A8F04A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E70E9-D2EC-1CF0-BA7D-B95159CC3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199817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BC470-1A5C-3312-D68A-B89855F3C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958976-5A16-E83F-7401-2B3EA171B6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DBDF4F-95A2-CD00-1373-09563A2D7F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E27A92-A702-8A2C-2D6C-AE1044C52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9C48-BD7A-93E4-2EB0-65FD0B785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282295-8494-4ABD-F593-715C06076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8744708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D0AAB-C25D-EE36-8460-77F0CF114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E888F-1B06-8910-EE49-4808CF1EC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2726C0-A638-EC12-65A6-C0E82CD52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8C92FD-8444-D979-11CC-74E8A26D75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0E308D-E6B5-7CE2-71C8-8E8F7B3C63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931FEB-3EC8-6290-C094-B183FFB88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5C18F3-9D9A-8D88-D68D-D8807AEF8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631F58-C154-6ACA-D193-DBF193803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3121116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D44FC-47AD-F44C-5EAD-7C61744A0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1983B3-7E82-EEED-FF15-2BC4444F7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025D4-C956-483C-1F70-E0553E18E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46384E-7634-5E27-1690-1DC7A4B6D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226357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FCF92A-BC75-5220-C577-31801AFDD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681FA0-A72D-F568-4C08-7F1F07985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06EEB-DB2B-8635-08CB-FFD558404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488684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6D36E-9191-FE03-71E8-7DF7E6DED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764BD-CF26-A62E-B791-C44437685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A8B3F9-EEBB-5691-3B77-D989B9AD26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772549-D572-5E82-3125-4E27CA8A4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4A8552-0386-ACFF-3D85-033857A55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DEEEC9-211F-3B2E-8021-6615F0635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719728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026EB-2FFD-F150-F929-6F8849D2F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B6CB41-7A27-E561-1BEE-D94E959808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3789D8-10B9-097C-2AED-18A96F1530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7D7DB2-6B4A-A48C-94B3-EF52148E3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85BCEA-0692-8438-02E6-827CBE885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7D44E5-9BD2-C773-9D35-4F02D935B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984796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693142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8F6F7-8CFC-C236-45AC-4812624FD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F057F1-2134-7529-C405-79B10EADF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CA0B1-1522-745C-913D-A7F52AFA6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A92F4-B51B-21C5-9001-8B5BFB314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123D4F-42CC-78A2-8BC5-36D8A02A5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95036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D1E1F2-B046-1CC9-8BFF-CC8405DF8B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302E73-BF62-65F4-A16A-8DB7512E73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F3AA80-1B69-FD6F-2091-2C2748ED1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C08A5-6434-5968-1E8C-AE99A2D3D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3439B-D4D2-4997-9675-DC9CCD235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9441109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58A4A-602B-9F46-BCDA-E75145D85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D2B3A3-464B-6B4B-98C9-882832127905}" type="datetime1">
              <a:rPr lang="en-US" smtClean="0"/>
              <a:t>10/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D35858-31C3-1D47-846B-80B423D5E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ataMinds Connect 2019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204DC2-3413-3548-8CF8-C5C663E9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9507F9A-98FE-9840-8666-8F444E9976E2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36612" y="534210"/>
            <a:ext cx="10515599" cy="5745984"/>
          </a:xfrm>
          <a:effectLst>
            <a:outerShdw blurRad="1397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407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56393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59826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18555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20992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9908739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82302193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18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545529165"/>
      </p:ext>
    </p:extLst>
  </p:cSld>
  <p:clrMapOvr>
    <a:masterClrMapping/>
  </p:clrMapOvr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22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9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26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26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1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98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86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07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957416703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616414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8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93311303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787126"/>
      </p:ext>
    </p:extLst>
  </p:cSld>
  <p:clrMapOvr>
    <a:masterClrMapping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188352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490970"/>
      </p:ext>
    </p:extLst>
  </p:cSld>
  <p:clrMapOvr>
    <a:masterClrMapping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201556"/>
      </p:ext>
    </p:extLst>
  </p:cSld>
  <p:clrMapOvr>
    <a:masterClrMapping/>
  </p:clrMapOvr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273054"/>
      </p:ext>
    </p:extLst>
  </p:cSld>
  <p:clrMapOvr>
    <a:masterClrMapping/>
  </p:clrMapOvr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246364"/>
      </p:ext>
    </p:extLst>
  </p:cSld>
  <p:clrMapOvr>
    <a:masterClrMapping/>
  </p:clrMapOvr>
  <p:hf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5503362"/>
      </p:ext>
    </p:extLst>
  </p:cSld>
  <p:clrMapOvr>
    <a:masterClrMapping/>
  </p:clrMapOvr>
  <p:hf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7573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317252"/>
      </p:ext>
    </p:extLst>
  </p:cSld>
  <p:clrMapOvr>
    <a:masterClrMapping/>
  </p:clrMapOvr>
  <p:transition spd="slow">
    <p:cover/>
  </p:transition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71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69202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4805"/>
      </p:ext>
    </p:extLst>
  </p:cSld>
  <p:clrMapOvr>
    <a:masterClrMapping/>
  </p:clrMapOvr>
  <p:hf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254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aMinds Connect 2019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192089"/>
      </p:ext>
    </p:extLst>
  </p:cSld>
  <p:clrMapOvr>
    <a:masterClrMapping/>
  </p:clrMapOvr>
  <p:hf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707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17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713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2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165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64131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2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B2EF14-4A5E-9745-A203-CFD0647536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88238"/>
      </p:ext>
    </p:extLst>
  </p:cSld>
  <p:clrMapOvr>
    <a:masterClrMapping/>
  </p:clrMapOvr>
  <p:hf hd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486282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47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48" Type="http://schemas.openxmlformats.org/officeDocument/2006/relationships/image" Target="../media/image5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svg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86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svg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37" Type="http://schemas.openxmlformats.org/officeDocument/2006/relationships/slideLayout" Target="../slideLayouts/slideLayout89.xml"/><Relationship Id="rId40" Type="http://schemas.openxmlformats.org/officeDocument/2006/relationships/theme" Target="../theme/theme3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36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35" Type="http://schemas.openxmlformats.org/officeDocument/2006/relationships/slideLayout" Target="../slideLayouts/slideLayout87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slideLayout" Target="../slideLayouts/slideLayout85.xml"/><Relationship Id="rId38" Type="http://schemas.openxmlformats.org/officeDocument/2006/relationships/slideLayout" Target="../slideLayouts/slideLayout90.xml"/><Relationship Id="rId46" Type="http://schemas.openxmlformats.org/officeDocument/2006/relationships/image" Target="../media/image4.png"/><Relationship Id="rId20" Type="http://schemas.openxmlformats.org/officeDocument/2006/relationships/slideLayout" Target="../slideLayouts/slideLayout72.xml"/><Relationship Id="rId41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532" imgH="530" progId="TCLayout.ActiveDocument.1">
                  <p:embed/>
                </p:oleObj>
              </mc:Choice>
              <mc:Fallback>
                <p:oleObj name="think-cell Slide" r:id="rId4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6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  <p:sldLayoutId id="2147483802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869C69-8949-CEA7-474B-5F049C278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313386-BF11-9474-D788-86DCD8A330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9A3AD-3AD1-E594-C3AC-04AA1FD4C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45165C-61D5-42B7-9D8B-D94D579A4112}" type="datetimeFigureOut">
              <a:rPr lang="LID4096" smtClean="0"/>
              <a:t>10/04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AF967-3329-CABE-268A-F950DE35B1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DC850-B1ED-1D64-97C0-EECF8CAF8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6D06D4-6DF8-4247-80D0-AFCDC6A01DC2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2632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17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5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Tx/>
        <a:buBlip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sql/relational-databases/sql-server-index-design-guide?view=sql-server-ver17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jpe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jpg"/><Relationship Id="rId25" Type="http://schemas.openxmlformats.org/officeDocument/2006/relationships/image" Target="../media/image47.jp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8.png"/><Relationship Id="rId20" Type="http://schemas.openxmlformats.org/officeDocument/2006/relationships/image" Target="../media/image42.jpe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5" Type="http://schemas.openxmlformats.org/officeDocument/2006/relationships/image" Target="../media/image27.jpg"/><Relationship Id="rId15" Type="http://schemas.openxmlformats.org/officeDocument/2006/relationships/image" Target="../media/image37.jpeg"/><Relationship Id="rId23" Type="http://schemas.openxmlformats.org/officeDocument/2006/relationships/image" Target="../media/image45.jpg"/><Relationship Id="rId10" Type="http://schemas.openxmlformats.org/officeDocument/2006/relationships/image" Target="../media/image32.jpg"/><Relationship Id="rId19" Type="http://schemas.openxmlformats.org/officeDocument/2006/relationships/image" Target="../media/image41.png"/><Relationship Id="rId4" Type="http://schemas.openxmlformats.org/officeDocument/2006/relationships/image" Target="../media/image26.jp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2.png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3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7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3.svg"/><Relationship Id="rId11" Type="http://schemas.openxmlformats.org/officeDocument/2006/relationships/image" Target="../media/image58.jp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.png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hyperlink" Target="https://learn.microsoft.com/en-us/sql/relational-databases/system-dynamic-management-views/sys-dm-db-missing-index-details-transact-sql?view=sql-server-ver17#examples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8.jpe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3.svg"/><Relationship Id="rId5" Type="http://schemas.openxmlformats.org/officeDocument/2006/relationships/image" Target="../media/image92.png"/><Relationship Id="rId4" Type="http://schemas.openxmlformats.org/officeDocument/2006/relationships/image" Target="../media/image91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5.png"/><Relationship Id="rId12" Type="http://schemas.openxmlformats.org/officeDocument/2006/relationships/image" Target="../media/image93.sv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94.png"/><Relationship Id="rId11" Type="http://schemas.openxmlformats.org/officeDocument/2006/relationships/image" Target="../media/image92.png"/><Relationship Id="rId5" Type="http://schemas.openxmlformats.org/officeDocument/2006/relationships/image" Target="../media/image3.svg"/><Relationship Id="rId10" Type="http://schemas.openxmlformats.org/officeDocument/2006/relationships/image" Target="../media/image91.svg"/><Relationship Id="rId4" Type="http://schemas.openxmlformats.org/officeDocument/2006/relationships/image" Target="../media/image2.png"/><Relationship Id="rId9" Type="http://schemas.openxmlformats.org/officeDocument/2006/relationships/image" Target="../media/image9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98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0.png"/><Relationship Id="rId7" Type="http://schemas.openxmlformats.org/officeDocument/2006/relationships/hyperlink" Target="https://sqlkover.creator-spring.com/listing/starry-vault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jpeg"/><Relationship Id="rId5" Type="http://schemas.openxmlformats.org/officeDocument/2006/relationships/hyperlink" Target="https://sqlkover.creator-spring.com/listing/new-star-schema-all-the-things" TargetMode="External"/><Relationship Id="rId10" Type="http://schemas.openxmlformats.org/officeDocument/2006/relationships/image" Target="../media/image62.png"/><Relationship Id="rId4" Type="http://schemas.openxmlformats.org/officeDocument/2006/relationships/image" Target="../media/image51.png"/><Relationship Id="rId9" Type="http://schemas.openxmlformats.org/officeDocument/2006/relationships/image" Target="../media/image61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sql/relational-databases/indexes/columnstore-indexes-what-s-new?view=sql-server-ver17#feature-summary-for-product-releases" TargetMode="External"/><Relationship Id="rId2" Type="http://schemas.openxmlformats.org/officeDocument/2006/relationships/hyperlink" Target="https://learn.microsoft.com/en-us/sql/t-sql/statements/create-columnstore-index-transact-sql?view=sql-server-ver17#version-availability" TargetMode="Externa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sqlsunday.com/2025/05/19/json-indexes-first-impressions/" TargetMode="External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11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1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hyperlink" Target="https://learn.microsoft.com/en-us/azure/synapse-analytics/sql-data-warehouse/massively-parallel-processing-mpp-architecture" TargetMode="External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hyperlink" Target="https://learn.microsoft.com/en-us/azure/synapse-analytics/sql-data-warehouse/massively-parallel-processing-mpp-architecture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4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gif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hyperlink" Target="https://learn.microsoft.com/en-us/fabric/data-warehouse/guidelines-warehouse-performance" TargetMode="External"/><Relationship Id="rId1" Type="http://schemas.openxmlformats.org/officeDocument/2006/relationships/slideLayout" Target="../slideLayouts/slideLayout19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9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hyperlink" Target="https://ola.hallengren.com/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hyperlink" Target="https://www.brentozar.com/blitzindex/" TargetMode="External"/><Relationship Id="rId1" Type="http://schemas.openxmlformats.org/officeDocument/2006/relationships/slideLayout" Target="../slideLayouts/slideLayout1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9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hyperlink" Target="https://ola.hallengren.com/" TargetMode="External"/><Relationship Id="rId13" Type="http://schemas.openxmlformats.org/officeDocument/2006/relationships/image" Target="../media/image123.jpeg"/><Relationship Id="rId3" Type="http://schemas.openxmlformats.org/officeDocument/2006/relationships/hyperlink" Target="https://learn.microsoft.com/en-us/sql/relational-databases/indexes/indexes?view=sql-server-ver17" TargetMode="External"/><Relationship Id="rId7" Type="http://schemas.openxmlformats.org/officeDocument/2006/relationships/hyperlink" Target="https://sqlsunday.com/2025/05/19/json-indexes-first-impressions/" TargetMode="External"/><Relationship Id="rId12" Type="http://schemas.openxmlformats.org/officeDocument/2006/relationships/hyperlink" Target="https://amzn.to/47t0jwF" TargetMode="External"/><Relationship Id="rId2" Type="http://schemas.openxmlformats.org/officeDocument/2006/relationships/hyperlink" Target="https://learn.microsoft.com/en-us/sql/relational-databases/sql-server-index-design-guide?view=sql-server-ver17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learn.microsoft.com/en-us/sql/relational-databases/indexes/columnstore-indexes-overview?view=sql-server-ver17" TargetMode="External"/><Relationship Id="rId11" Type="http://schemas.openxmlformats.org/officeDocument/2006/relationships/image" Target="../media/image122.jpeg"/><Relationship Id="rId5" Type="http://schemas.openxmlformats.org/officeDocument/2006/relationships/hyperlink" Target="https://www.sqlshack.com/sql-server-clustered-indexes-internals-with-examples/" TargetMode="External"/><Relationship Id="rId10" Type="http://schemas.openxmlformats.org/officeDocument/2006/relationships/hyperlink" Target="https://amzn.to/480zyQo" TargetMode="External"/><Relationship Id="rId4" Type="http://schemas.openxmlformats.org/officeDocument/2006/relationships/hyperlink" Target="https://learn.microsoft.com/en-us/sql/relational-databases/indexes/clustered-and-nonclustered-indexes-described?view=sql-server-ver17" TargetMode="External"/><Relationship Id="rId9" Type="http://schemas.openxmlformats.org/officeDocument/2006/relationships/hyperlink" Target="https://www.brentozar.com/responder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E5395D9-5BD4-1DE2-DF21-C8736C0235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9045337" cy="1903106"/>
          </a:xfrm>
        </p:spPr>
        <p:txBody>
          <a:bodyPr>
            <a:normAutofit/>
          </a:bodyPr>
          <a:lstStyle/>
          <a:p>
            <a:r>
              <a:rPr lang="en-US" dirty="0"/>
              <a:t>Indexing for Dummies</a:t>
            </a:r>
            <a:endParaRPr lang="nl-BE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4B692977-2123-AB32-F842-9F8D55B6C7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670874"/>
            <a:ext cx="7674590" cy="728803"/>
          </a:xfrm>
        </p:spPr>
        <p:txBody>
          <a:bodyPr>
            <a:normAutofit/>
          </a:bodyPr>
          <a:lstStyle/>
          <a:p>
            <a:r>
              <a:rPr lang="en-US" sz="3200" dirty="0"/>
              <a:t>Koen Verbeeck</a:t>
            </a:r>
            <a:endParaRPr lang="nl-BE" sz="1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FCD1E3-3933-5737-B1CA-E62CAFAAEE0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679113" y="6211888"/>
            <a:ext cx="1512887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t>1</a:t>
            </a:fld>
            <a:endParaRPr lang="en-US"/>
          </a:p>
        </p:txBody>
      </p:sp>
      <p:pic>
        <p:nvPicPr>
          <p:cNvPr id="2" name="Picture 1" descr="A cartoon of a person pointing&#10;&#10;Description automatically generated">
            <a:extLst>
              <a:ext uri="{FF2B5EF4-FFF2-40B4-BE49-F238E27FC236}">
                <a16:creationId xmlns:a16="http://schemas.microsoft.com/office/drawing/2014/main" id="{977F7CCC-51A7-B8B0-34A0-E9590F9C7E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13" y="3813243"/>
            <a:ext cx="2361365" cy="3132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1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77CCC-0B14-355F-FBAA-0F68199B69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An index is an on-disk or in-memory </a:t>
            </a:r>
            <a:r>
              <a:rPr lang="en-US" sz="4400" b="1" dirty="0"/>
              <a:t>structure</a:t>
            </a:r>
            <a:r>
              <a:rPr lang="en-US" sz="4400" dirty="0"/>
              <a:t> associated with a </a:t>
            </a:r>
            <a:r>
              <a:rPr lang="en-US" sz="4400" b="1" dirty="0"/>
              <a:t>table or view</a:t>
            </a:r>
            <a:r>
              <a:rPr lang="en-US" sz="4400" dirty="0"/>
              <a:t> that </a:t>
            </a:r>
            <a:r>
              <a:rPr lang="en-US" sz="4400" b="1" dirty="0"/>
              <a:t>speeds retrieval of rows </a:t>
            </a:r>
            <a:r>
              <a:rPr lang="en-US" sz="4400" dirty="0"/>
              <a:t>from the table or view</a:t>
            </a:r>
            <a:endParaRPr lang="nl-BE" sz="4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37AA0C-0E87-F2CB-77B0-57D67EF9CFA3}"/>
              </a:ext>
            </a:extLst>
          </p:cNvPr>
          <p:cNvSpPr txBox="1"/>
          <p:nvPr/>
        </p:nvSpPr>
        <p:spPr>
          <a:xfrm>
            <a:off x="217055" y="6354496"/>
            <a:ext cx="193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Microsoft Learn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157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028FE-3F20-118A-EB8D-4E77643987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6F7CE2-4F5E-24B8-A8DA-CE4866C587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lustered Indexes</a:t>
            </a:r>
            <a:endParaRPr lang="nl-BE" dirty="0">
              <a:solidFill>
                <a:schemeClr val="bg1"/>
              </a:solidFill>
            </a:endParaRPr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D535F6D5-DFC1-3964-3B83-C45F235DB4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670874"/>
            <a:ext cx="7674590" cy="72880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your best friend in SQL Server</a:t>
            </a:r>
            <a:endParaRPr lang="nl-B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42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 large pile of hay sitting in a field">
            <a:extLst>
              <a:ext uri="{FF2B5EF4-FFF2-40B4-BE49-F238E27FC236}">
                <a16:creationId xmlns:a16="http://schemas.microsoft.com/office/drawing/2014/main" id="{8D4CE621-9D26-587D-4D4F-87D0DD28A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155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29E5B1-400C-A64B-5BF5-1B7DF7684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3076" name="Picture 4" descr="Geen telefoonboek meer op papier | Wablieft">
            <a:extLst>
              <a:ext uri="{FF2B5EF4-FFF2-40B4-BE49-F238E27FC236}">
                <a16:creationId xmlns:a16="http://schemas.microsoft.com/office/drawing/2014/main" id="{389590DD-5FB0-6322-37F6-65045EEEB4E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758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AC4A31-4F47-51AB-451C-46A41EBE6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5D490-F05C-612F-56DD-D21F0ED0B0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8000" dirty="0"/>
              <a:t>the clustered index </a:t>
            </a:r>
            <a:r>
              <a:rPr lang="en-US" sz="8000" b="1" dirty="0"/>
              <a:t>IS THE TABLE</a:t>
            </a:r>
            <a:endParaRPr lang="nl-BE" sz="8000" b="1" dirty="0"/>
          </a:p>
        </p:txBody>
      </p:sp>
    </p:spTree>
    <p:extLst>
      <p:ext uri="{BB962C8B-B14F-4D97-AF65-F5344CB8AC3E}">
        <p14:creationId xmlns:p14="http://schemas.microsoft.com/office/powerpoint/2010/main" val="380422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79CD5FF-4A83-0633-5C5E-ACA4804DD09A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6DE068-BBE7-DBCC-D17C-8847E8402ECA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33CDC8-B214-93C7-93A5-B347CDEE1F4C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F0BDD6-B37C-BFA4-7948-31C37B4ED0D0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94215B-C74C-6B46-A5C9-C943E0A1191D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884A52-9A71-1ECD-F926-9A2FAFC6C1CD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04E120-35B4-118B-97E6-2F732E5D4544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3575AE-C5A8-CF4D-3212-92EDA14565FB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6843196-DA30-558D-5011-6ED3393B00AE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B72553-7A4C-7A35-08CA-F94C23CB3B87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B9E527-C149-A552-2FF6-120F9C75E8CE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51F5B5-20CF-A446-F8B4-E9104FA375E5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96B71A-798E-AA7E-08E2-73F58D139096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98DEE9-C723-07EE-0B59-752C31B42F44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7ECB054-0569-4C8B-1145-A6B04FE0C6FE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4CEC80-7252-8F7E-EF7B-27F602AB05C3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4B9F5D8-6778-9700-422A-AD4093711E3E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08D24A3-8538-F95F-B1AF-95A0047D1B57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0CF4C7A-775D-4F71-318F-E232DD11D2FE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3AF84D3-DB9D-D17D-E2A4-97157E529F13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2697049-A032-9BB0-2475-232483CE646C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E7509A8-D383-796B-C9D7-0877CA79BB53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328C4D9-1CD5-98C2-35A4-F3750A91797D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93535CF-9BE1-BEB6-B848-682E996E69AC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D2496B9-EE69-A92E-86E3-DDC01833F5D3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57A3D73-929B-6A98-9F43-49AE3C6D4D0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848FD35-2CE9-FEC1-0896-E7D0997E70A7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BCD7D4D-8803-90AD-DE65-D9A472712963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4A25F2B-34FA-A5C7-F930-875F32CBA7AC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55FF3EB-9AC6-3AAA-E951-1CE283E408E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0570B53-C903-756A-9972-C61FE959BC9F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FD8CF897-1C78-340A-1C9F-F938C3FDDAFB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6F1EE9B-CD70-2D0C-C886-95FC117284BD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9F4E9F4D-0A98-5254-079D-75716C92F034}"/>
              </a:ext>
            </a:extLst>
          </p:cNvPr>
          <p:cNvCxnSpPr>
            <a:cxnSpLocks/>
            <a:stCxn id="18" idx="3"/>
            <a:endCxn id="19" idx="1"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BC0B203-7522-466C-1FFD-A63AA3175899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6CEECAA-1E99-4087-C1C2-0CBDF75EE19F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B9D9D1A-6464-11F0-7033-3EA7BEEA4083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6278710-FABE-FD22-ED83-85D9CC8D4DA3}"/>
              </a:ext>
            </a:extLst>
          </p:cNvPr>
          <p:cNvCxnSpPr>
            <a:cxnSpLocks/>
            <a:stCxn id="19" idx="3"/>
            <a:endCxn id="17" idx="1"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8E5711B-DA2F-98B1-4A0B-2C383FE28AE4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1B8848A-B095-B147-AA2D-5F29C24FB2F8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BEE2ED3C-C2C0-830F-4906-56D3A69B82EA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8E8363A-4ACB-9165-9FE7-7EB4F369EACE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3DE92DF-A2C5-FF30-C4D9-3E7838BF9432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2422497-B7C2-CBE3-05CF-F29A5BF413B2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F76CBC-5E46-72ED-2C8B-C9EB20553019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AFE3BA7-255C-6FFD-6427-5EB82EB183D3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3C89DBA-5667-AE1B-CD44-197340E08955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D21622F-DAF3-46E6-B06B-41BCA025CE17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9F29561-A6C5-F157-ADAC-4B34ACC895DD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4764BBB3-7539-F0E6-9A1B-46C7ABE81E51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7902B1C6-6257-EDAA-552E-F79FE715208A}"/>
              </a:ext>
            </a:extLst>
          </p:cNvPr>
          <p:cNvCxnSpPr>
            <a:cxnSpLocks/>
            <a:stCxn id="19" idx="2"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2E592DA8-2354-36DD-73B2-72E50831F5AA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307B5C55-D11A-A016-3EAE-CF339AE61760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C567727F-81DA-2EE3-3909-F65697FCAB17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B9D8F9B-D579-41F4-84D1-25819E3E811A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E21BD8D-099E-0987-2B1B-61FD09384B36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267491E5-03C4-15B2-3158-264799C53089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96F7A1C4-B4A8-C50D-C8E7-9FE9B9CD1E87}"/>
              </a:ext>
            </a:extLst>
          </p:cNvPr>
          <p:cNvSpPr/>
          <p:nvPr/>
        </p:nvSpPr>
        <p:spPr>
          <a:xfrm>
            <a:off x="4610099" y="695325"/>
            <a:ext cx="2752725" cy="1107196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5DF385F-0582-27B8-E190-0BACCCF19B33}"/>
              </a:ext>
            </a:extLst>
          </p:cNvPr>
          <p:cNvSpPr/>
          <p:nvPr/>
        </p:nvSpPr>
        <p:spPr>
          <a:xfrm>
            <a:off x="81281" y="1960334"/>
            <a:ext cx="11948794" cy="1970005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403EE76-98A3-0A79-C51B-261BCD11382F}"/>
              </a:ext>
            </a:extLst>
          </p:cNvPr>
          <p:cNvSpPr/>
          <p:nvPr/>
        </p:nvSpPr>
        <p:spPr>
          <a:xfrm>
            <a:off x="81281" y="3977550"/>
            <a:ext cx="11948794" cy="976167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8675678B-1A77-39AF-D69F-03B6D7823578}"/>
              </a:ext>
            </a:extLst>
          </p:cNvPr>
          <p:cNvSpPr txBox="1"/>
          <p:nvPr/>
        </p:nvSpPr>
        <p:spPr>
          <a:xfrm>
            <a:off x="3448543" y="600940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root level</a:t>
            </a:r>
            <a:endParaRPr lang="nl-BE" dirty="0">
              <a:solidFill>
                <a:srgbClr val="002060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71B917B-EAF2-52F3-A216-0A276E0A0DAB}"/>
              </a:ext>
            </a:extLst>
          </p:cNvPr>
          <p:cNvSpPr txBox="1"/>
          <p:nvPr/>
        </p:nvSpPr>
        <p:spPr>
          <a:xfrm>
            <a:off x="136638" y="1960334"/>
            <a:ext cx="1776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intermediate level</a:t>
            </a:r>
            <a:endParaRPr lang="nl-BE" dirty="0">
              <a:solidFill>
                <a:srgbClr val="002060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5B492EE-F7F7-9786-27FB-4B60AB28A7E3}"/>
              </a:ext>
            </a:extLst>
          </p:cNvPr>
          <p:cNvSpPr txBox="1"/>
          <p:nvPr/>
        </p:nvSpPr>
        <p:spPr>
          <a:xfrm>
            <a:off x="63054" y="3941357"/>
            <a:ext cx="1776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leaf level</a:t>
            </a:r>
            <a:endParaRPr lang="nl-BE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5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 animBg="1"/>
      <p:bldP spid="95" grpId="0" animBg="1"/>
      <p:bldP spid="96" grpId="0" animBg="1"/>
      <p:bldP spid="97" grpId="0"/>
      <p:bldP spid="98" grpId="0"/>
      <p:bldP spid="9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3EB2A-3319-D741-AD7B-D6E954C3A6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6DD12E4-8083-8AEB-1C5F-946B2818AC69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F5A1D1-1376-508B-AB4C-B753634123FE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B17228-0306-BA0E-1592-4261F8C17B59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45A4C-3CE7-8737-8730-CF92F9F668A9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322C70-234F-62C0-13AA-0372ECF948FB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6B2B28-4CA9-F74C-E799-0DDC999311CE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75CA6A-D0E9-8E27-C37B-9D9EBCBAA8FD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1EC38FA-875A-E399-50A6-5C87B26BCED9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777C7E1-4321-BC07-FFE2-B0537F801DB5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23CBD2C-7FE2-3092-07D9-B59DE1DD106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5A1B83E-811D-4B60-6BBB-6426A30826DB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1FCC550-1128-3987-B743-0064DD3F8AA4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AB930A4-919C-0E15-0D5F-92CA151D91E7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541C068-1692-6CDE-7B36-DB47E2C517CE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C56C766-1650-C5E3-4BBF-F42B73514DC6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0637171-66C6-D98B-2BC9-EC0318449219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297B2E0-CF24-A8E9-0426-4D46383EB701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59385BA8-D160-6988-5D7F-BD21FA2AC446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E0A1331-71AA-1665-FB20-6FF2C3680F1E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937A20FD-9B5C-5A4F-A9FF-F66EB974F7A1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E0ABFCA-FD36-87D7-898C-C04D10F6ED1D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C08FE91-C18D-DC1B-1BEF-21A60D81B2B5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7743012-CEF4-D4B2-053D-EEF3CE2A8B84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2666F6AE-2EC3-FAB2-B956-1609B775F0F1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7C80DC04-9F08-623D-DD77-AA48271C5F3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682D745-70E6-BF7B-B424-95948DFD1EA7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19F9E768-5189-05ED-67CA-C00A5DB5DE26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7796E47F-C9E8-C9AB-083A-294564226BF6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82AC211-44FD-756D-428E-03797CC39DC1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13CF2E23-F4BE-4649-C501-14A1E5837CE0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75D7FC6-3852-A90B-FDEE-0B8F3B352382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F4AE62B-225E-8F06-6EEA-303E949DDAE4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262D3E6F-C629-7E9E-0677-2E3FC3265D4F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7DE60FE-E36A-9118-E537-A41E56A9F1E8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346CCA-C1EE-341F-1F10-ADA5CBD5E54E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0F309F5-3E57-EC9E-4F00-B1B536BFC724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9E37AD1-0D87-B6D2-5F17-6B6821B7AA28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EA5D90FA-02C1-A273-9CE5-9E6891280F92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1B66D5F-1B53-09F2-C77C-CD62E52DCC1D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830773-DC4E-8F3D-8C73-AF8DE675CF5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554ECAD-FFEC-E801-0772-685005430A85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D19CA9-10E3-1802-F3C3-4D6AB6C08F18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latin typeface="Consolas" panose="020B0609020204030204" pitchFamily="49" charset="0"/>
              </a:rPr>
              <a:t> 15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907C674-A1E5-C837-4C0C-A77110041DD0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E85C764-4659-2332-CFEC-D937DC21C549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180BA7B-6ACF-1447-C1B9-BD790B4DFD12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B6860E2-A7E0-2694-A9D1-C9AA403A1547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CA0CA83-2E90-5124-7F96-7EFBF8407497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FA0467C-BCB5-0614-CAFF-AC96DD316980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2B8BA1A-855D-7E75-7750-4F32C4F57D8B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D4C6C40-ABA0-6FB0-9F96-75CA17C76BDA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2A7739A-E818-02C5-7D68-1BB20C886079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5F83E1-1142-5641-FC7E-2BA52AC4CCE1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DC2F629-D5C0-47FC-46D5-D674590C0C67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90A029-D5A6-7A13-1684-C2FEC98AB395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3FC1D5E-125B-119E-618A-195A151A6B38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80BDD8-7049-A755-58A5-34F1FFAE7711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628426A-6EBD-4472-42B6-7B51432C2DA2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5E4E2F2-2130-B5A3-47B1-025DBBCB0987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365378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B9B47-C502-44A0-3B77-5ACCE67326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290DFD-2850-FA96-D9BF-007D92BC34B1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F366AB-8634-B3F2-C2B2-E6F0DBF64614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A33D8A-8D61-C716-E071-A636E5BAA397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E8C827-3C14-F797-CA6B-036E8EA1C70A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B14C3E-21FD-B192-ECB8-B81E269F3983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BA51BB-21EE-0BA0-31A0-034CF09D9978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A450E0-007A-4C72-381E-7723B8403DFB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4A2D415-C8CB-B964-93F5-4B80E36D48A7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978172F-5EB4-8E1F-C84B-98A1C69318EE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14F0EF1-77F0-EF8F-44AC-85F4A9AC0AC0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B492DB2-A7E1-E944-503A-2F20E2C1B6B7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AA76280-DFBB-F472-773A-3223C3767D80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87CE2F-D04D-B506-9BD3-FC8ACF15B072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E609F21-0899-B91F-E167-447491949FF3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FBEB449-3781-D6A0-680A-E90F378C0CE3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92A1EDB-E104-7A12-47D6-776749DE634F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30417C0-89D7-9A36-A6F1-41FC56E41ADB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3806945-FBA7-EAA4-B28D-715545055E3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99857E6-352F-76AD-4C91-A56B594D90FD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C4086BD-F24F-C9B9-D10F-FB856959FF87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585801C-B651-C230-73FF-76BFB410E8D9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EC0D240-560D-FC62-DD8F-A44B4B8BE12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0EE7809-F80E-9068-07A3-1E017954BDC2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B37EBF6-BBA4-0C38-28FD-D807C8FD18B6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9BEC97EA-9574-BB86-46B1-79FF64C75571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5A13611-4FCF-CDD6-DA78-847F1B736648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3C850D-F305-3F5F-656E-9018CCE2C34D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0790E558-F946-340C-B434-F46ED335EE76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6B44212-096F-6C76-7C9E-DD06D90FCB89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8F984020-BDED-423D-7ECF-21E5107261A6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E40C688-EA92-A8DD-F707-B6E99013BC6E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A4C1600-85BB-C313-93EC-32C0B27E54A0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2B2D817-4577-379A-055C-A3A892497EBD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4B41F89-50D7-1516-914D-B30FBCBE73F2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11C92D-B2E8-416F-5092-4D7B45B4AC29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AA7BD76-3640-4C9B-120E-B4DA7DF61854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AF4E600-4DF6-23A3-676D-CE46D4513E0E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884B453-DC9E-2CFA-34A9-3A177DE11608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58D820-05D1-7CA7-0698-FB2CD8707A0A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6627ED-C1F8-3284-8DD5-A12B517A4FCE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C883708-AC14-07AA-28C2-B98DE302750D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751AE2-C1A7-D138-FE25-CF4E9DFB27B5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latin typeface="Consolas" panose="020B0609020204030204" pitchFamily="49" charset="0"/>
              </a:rPr>
              <a:t> 15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DA8099A-9E70-E930-D9B7-6D45EE1E1C4E}"/>
              </a:ext>
            </a:extLst>
          </p:cNvPr>
          <p:cNvCxnSpPr>
            <a:stCxn id="8" idx="59"/>
          </p:cNvCxnSpPr>
          <p:nvPr/>
        </p:nvCxnSpPr>
        <p:spPr>
          <a:xfrm flipV="1">
            <a:off x="3448280" y="5221995"/>
            <a:ext cx="187286" cy="198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5D3AA0B-09DA-1CBE-1798-7F07E1526635}"/>
              </a:ext>
            </a:extLst>
          </p:cNvPr>
          <p:cNvCxnSpPr>
            <a:cxnSpLocks/>
            <a:endCxn id="8" idx="59"/>
          </p:cNvCxnSpPr>
          <p:nvPr/>
        </p:nvCxnSpPr>
        <p:spPr>
          <a:xfrm>
            <a:off x="3263674" y="5221995"/>
            <a:ext cx="184606" cy="198304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506591C-3E81-4033-B73D-C645645DC06F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63223A9-474B-3F46-5547-35C170F3B059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E7E10E0-4E84-F05C-C7C3-1DD29656E846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0F7C86F-5E45-4B2B-B1D8-72BAB0375D66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C3BF909-D5B8-5EBF-2E55-BC9BE53BAA2A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BE3AD96-1754-6DBE-710E-CCBAA17012A9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153A8FD-032A-9405-34F6-32C2C4C36516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10E32FB-C212-5300-C836-E66492115134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0CE574BB-E94F-FED8-F722-1B5D7EBB8AA4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C31187D-3664-8DC8-5D19-DC0BD368C645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97954DA-681D-AA72-B861-4AD1F24D8ADD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D117F77-CF54-9319-162B-8807B662DC9D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8ADC39B-4211-9C0F-8E79-68C27D02799F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456F11C-6E4F-3064-56A7-E91435D53696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09F1EF7-387F-71D7-ADB2-E3A13517A2A8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0998811-7EAD-0DA6-55B9-6B3B6EAE5ECD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FCBD31-0687-CCBA-AD30-E356DE457077}"/>
              </a:ext>
            </a:extLst>
          </p:cNvPr>
          <p:cNvSpPr/>
          <p:nvPr/>
        </p:nvSpPr>
        <p:spPr>
          <a:xfrm>
            <a:off x="3426180" y="1663547"/>
            <a:ext cx="2060220" cy="3756752"/>
          </a:xfrm>
          <a:custGeom>
            <a:avLst/>
            <a:gdLst>
              <a:gd name="connsiteX0" fmla="*/ 2060220 w 2060220"/>
              <a:gd name="connsiteY0" fmla="*/ 0 h 3756752"/>
              <a:gd name="connsiteX1" fmla="*/ 1839883 w 2060220"/>
              <a:gd name="connsiteY1" fmla="*/ 110169 h 3756752"/>
              <a:gd name="connsiteX2" fmla="*/ 1498360 w 2060220"/>
              <a:gd name="connsiteY2" fmla="*/ 187287 h 3756752"/>
              <a:gd name="connsiteX3" fmla="*/ 1311073 w 2060220"/>
              <a:gd name="connsiteY3" fmla="*/ 220337 h 3756752"/>
              <a:gd name="connsiteX4" fmla="*/ 1013618 w 2060220"/>
              <a:gd name="connsiteY4" fmla="*/ 297455 h 3756752"/>
              <a:gd name="connsiteX5" fmla="*/ 594977 w 2060220"/>
              <a:gd name="connsiteY5" fmla="*/ 363557 h 3756752"/>
              <a:gd name="connsiteX6" fmla="*/ 506842 w 2060220"/>
              <a:gd name="connsiteY6" fmla="*/ 385590 h 3756752"/>
              <a:gd name="connsiteX7" fmla="*/ 418707 w 2060220"/>
              <a:gd name="connsiteY7" fmla="*/ 418641 h 3756752"/>
              <a:gd name="connsiteX8" fmla="*/ 341589 w 2060220"/>
              <a:gd name="connsiteY8" fmla="*/ 451692 h 3756752"/>
              <a:gd name="connsiteX9" fmla="*/ 198369 w 2060220"/>
              <a:gd name="connsiteY9" fmla="*/ 550843 h 3756752"/>
              <a:gd name="connsiteX10" fmla="*/ 121251 w 2060220"/>
              <a:gd name="connsiteY10" fmla="*/ 627961 h 3756752"/>
              <a:gd name="connsiteX11" fmla="*/ 99218 w 2060220"/>
              <a:gd name="connsiteY11" fmla="*/ 661012 h 3756752"/>
              <a:gd name="connsiteX12" fmla="*/ 77184 w 2060220"/>
              <a:gd name="connsiteY12" fmla="*/ 749147 h 3756752"/>
              <a:gd name="connsiteX13" fmla="*/ 66167 w 2060220"/>
              <a:gd name="connsiteY13" fmla="*/ 782198 h 3756752"/>
              <a:gd name="connsiteX14" fmla="*/ 88201 w 2060220"/>
              <a:gd name="connsiteY14" fmla="*/ 870333 h 3756752"/>
              <a:gd name="connsiteX15" fmla="*/ 176336 w 2060220"/>
              <a:gd name="connsiteY15" fmla="*/ 958467 h 3756752"/>
              <a:gd name="connsiteX16" fmla="*/ 264471 w 2060220"/>
              <a:gd name="connsiteY16" fmla="*/ 1035586 h 3756752"/>
              <a:gd name="connsiteX17" fmla="*/ 308538 w 2060220"/>
              <a:gd name="connsiteY17" fmla="*/ 1101687 h 3756752"/>
              <a:gd name="connsiteX18" fmla="*/ 396673 w 2060220"/>
              <a:gd name="connsiteY18" fmla="*/ 1178805 h 3756752"/>
              <a:gd name="connsiteX19" fmla="*/ 462774 w 2060220"/>
              <a:gd name="connsiteY19" fmla="*/ 1222872 h 3756752"/>
              <a:gd name="connsiteX20" fmla="*/ 506842 w 2060220"/>
              <a:gd name="connsiteY20" fmla="*/ 1233889 h 3756752"/>
              <a:gd name="connsiteX21" fmla="*/ 550909 w 2060220"/>
              <a:gd name="connsiteY21" fmla="*/ 1266940 h 3756752"/>
              <a:gd name="connsiteX22" fmla="*/ 628027 w 2060220"/>
              <a:gd name="connsiteY22" fmla="*/ 1299990 h 3756752"/>
              <a:gd name="connsiteX23" fmla="*/ 672095 w 2060220"/>
              <a:gd name="connsiteY23" fmla="*/ 1322024 h 3756752"/>
              <a:gd name="connsiteX24" fmla="*/ 727179 w 2060220"/>
              <a:gd name="connsiteY24" fmla="*/ 1355075 h 3756752"/>
              <a:gd name="connsiteX25" fmla="*/ 760230 w 2060220"/>
              <a:gd name="connsiteY25" fmla="*/ 1388125 h 3756752"/>
              <a:gd name="connsiteX26" fmla="*/ 815314 w 2060220"/>
              <a:gd name="connsiteY26" fmla="*/ 1432193 h 3756752"/>
              <a:gd name="connsiteX27" fmla="*/ 848365 w 2060220"/>
              <a:gd name="connsiteY27" fmla="*/ 1454226 h 3756752"/>
              <a:gd name="connsiteX28" fmla="*/ 892432 w 2060220"/>
              <a:gd name="connsiteY28" fmla="*/ 1487277 h 3756752"/>
              <a:gd name="connsiteX29" fmla="*/ 925483 w 2060220"/>
              <a:gd name="connsiteY29" fmla="*/ 1509311 h 3756752"/>
              <a:gd name="connsiteX30" fmla="*/ 980567 w 2060220"/>
              <a:gd name="connsiteY30" fmla="*/ 1575412 h 3756752"/>
              <a:gd name="connsiteX31" fmla="*/ 991584 w 2060220"/>
              <a:gd name="connsiteY31" fmla="*/ 1619480 h 3756752"/>
              <a:gd name="connsiteX32" fmla="*/ 1002601 w 2060220"/>
              <a:gd name="connsiteY32" fmla="*/ 1652530 h 3756752"/>
              <a:gd name="connsiteX33" fmla="*/ 991584 w 2060220"/>
              <a:gd name="connsiteY33" fmla="*/ 1773716 h 3756752"/>
              <a:gd name="connsiteX34" fmla="*/ 958533 w 2060220"/>
              <a:gd name="connsiteY34" fmla="*/ 1828800 h 3756752"/>
              <a:gd name="connsiteX35" fmla="*/ 914466 w 2060220"/>
              <a:gd name="connsiteY35" fmla="*/ 1905918 h 3756752"/>
              <a:gd name="connsiteX36" fmla="*/ 826331 w 2060220"/>
              <a:gd name="connsiteY36" fmla="*/ 1994053 h 3756752"/>
              <a:gd name="connsiteX37" fmla="*/ 782263 w 2060220"/>
              <a:gd name="connsiteY37" fmla="*/ 2027104 h 3756752"/>
              <a:gd name="connsiteX38" fmla="*/ 749213 w 2060220"/>
              <a:gd name="connsiteY38" fmla="*/ 2049137 h 3756752"/>
              <a:gd name="connsiteX39" fmla="*/ 716162 w 2060220"/>
              <a:gd name="connsiteY39" fmla="*/ 2082188 h 3756752"/>
              <a:gd name="connsiteX40" fmla="*/ 650061 w 2060220"/>
              <a:gd name="connsiteY40" fmla="*/ 2115239 h 3756752"/>
              <a:gd name="connsiteX41" fmla="*/ 572943 w 2060220"/>
              <a:gd name="connsiteY41" fmla="*/ 2170323 h 3756752"/>
              <a:gd name="connsiteX42" fmla="*/ 506842 w 2060220"/>
              <a:gd name="connsiteY42" fmla="*/ 2236424 h 3756752"/>
              <a:gd name="connsiteX43" fmla="*/ 462774 w 2060220"/>
              <a:gd name="connsiteY43" fmla="*/ 2258458 h 3756752"/>
              <a:gd name="connsiteX44" fmla="*/ 418707 w 2060220"/>
              <a:gd name="connsiteY44" fmla="*/ 2302525 h 3756752"/>
              <a:gd name="connsiteX45" fmla="*/ 385656 w 2060220"/>
              <a:gd name="connsiteY45" fmla="*/ 2324559 h 3756752"/>
              <a:gd name="connsiteX46" fmla="*/ 330572 w 2060220"/>
              <a:gd name="connsiteY46" fmla="*/ 2368626 h 3756752"/>
              <a:gd name="connsiteX47" fmla="*/ 253454 w 2060220"/>
              <a:gd name="connsiteY47" fmla="*/ 2456761 h 3756752"/>
              <a:gd name="connsiteX48" fmla="*/ 220403 w 2060220"/>
              <a:gd name="connsiteY48" fmla="*/ 2489812 h 3756752"/>
              <a:gd name="connsiteX49" fmla="*/ 198369 w 2060220"/>
              <a:gd name="connsiteY49" fmla="*/ 2522863 h 3756752"/>
              <a:gd name="connsiteX50" fmla="*/ 165319 w 2060220"/>
              <a:gd name="connsiteY50" fmla="*/ 2566930 h 3756752"/>
              <a:gd name="connsiteX51" fmla="*/ 143285 w 2060220"/>
              <a:gd name="connsiteY51" fmla="*/ 2599981 h 3756752"/>
              <a:gd name="connsiteX52" fmla="*/ 77184 w 2060220"/>
              <a:gd name="connsiteY52" fmla="*/ 2710149 h 3756752"/>
              <a:gd name="connsiteX53" fmla="*/ 55150 w 2060220"/>
              <a:gd name="connsiteY53" fmla="*/ 2820318 h 3756752"/>
              <a:gd name="connsiteX54" fmla="*/ 44133 w 2060220"/>
              <a:gd name="connsiteY54" fmla="*/ 3283026 h 3756752"/>
              <a:gd name="connsiteX55" fmla="*/ 33116 w 2060220"/>
              <a:gd name="connsiteY55" fmla="*/ 3360145 h 3756752"/>
              <a:gd name="connsiteX56" fmla="*/ 11083 w 2060220"/>
              <a:gd name="connsiteY56" fmla="*/ 3404212 h 3756752"/>
              <a:gd name="connsiteX57" fmla="*/ 11083 w 2060220"/>
              <a:gd name="connsiteY57" fmla="*/ 3657600 h 3756752"/>
              <a:gd name="connsiteX58" fmla="*/ 33116 w 2060220"/>
              <a:gd name="connsiteY58" fmla="*/ 3701667 h 3756752"/>
              <a:gd name="connsiteX59" fmla="*/ 22100 w 2060220"/>
              <a:gd name="connsiteY59" fmla="*/ 3756752 h 3756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060220" h="3756752">
                <a:moveTo>
                  <a:pt x="2060220" y="0"/>
                </a:moveTo>
                <a:cubicBezTo>
                  <a:pt x="1970145" y="90075"/>
                  <a:pt x="2016206" y="60437"/>
                  <a:pt x="1839883" y="110169"/>
                </a:cubicBezTo>
                <a:cubicBezTo>
                  <a:pt x="1554288" y="190722"/>
                  <a:pt x="1664269" y="161091"/>
                  <a:pt x="1498360" y="187287"/>
                </a:cubicBezTo>
                <a:cubicBezTo>
                  <a:pt x="1490105" y="188590"/>
                  <a:pt x="1350273" y="210537"/>
                  <a:pt x="1311073" y="220337"/>
                </a:cubicBezTo>
                <a:cubicBezTo>
                  <a:pt x="1198157" y="248566"/>
                  <a:pt x="1155130" y="277239"/>
                  <a:pt x="1013618" y="297455"/>
                </a:cubicBezTo>
                <a:cubicBezTo>
                  <a:pt x="832690" y="323302"/>
                  <a:pt x="747643" y="329632"/>
                  <a:pt x="594977" y="363557"/>
                </a:cubicBezTo>
                <a:cubicBezTo>
                  <a:pt x="565416" y="370126"/>
                  <a:pt x="535746" y="376558"/>
                  <a:pt x="506842" y="385590"/>
                </a:cubicBezTo>
                <a:cubicBezTo>
                  <a:pt x="476894" y="394949"/>
                  <a:pt x="447839" y="406988"/>
                  <a:pt x="418707" y="418641"/>
                </a:cubicBezTo>
                <a:cubicBezTo>
                  <a:pt x="392740" y="429028"/>
                  <a:pt x="365571" y="437303"/>
                  <a:pt x="341589" y="451692"/>
                </a:cubicBezTo>
                <a:cubicBezTo>
                  <a:pt x="291799" y="481566"/>
                  <a:pt x="245806" y="517359"/>
                  <a:pt x="198369" y="550843"/>
                </a:cubicBezTo>
                <a:cubicBezTo>
                  <a:pt x="147584" y="586691"/>
                  <a:pt x="157348" y="577425"/>
                  <a:pt x="121251" y="627961"/>
                </a:cubicBezTo>
                <a:cubicBezTo>
                  <a:pt x="113555" y="638735"/>
                  <a:pt x="105139" y="649169"/>
                  <a:pt x="99218" y="661012"/>
                </a:cubicBezTo>
                <a:cubicBezTo>
                  <a:pt x="86626" y="686196"/>
                  <a:pt x="83470" y="724003"/>
                  <a:pt x="77184" y="749147"/>
                </a:cubicBezTo>
                <a:cubicBezTo>
                  <a:pt x="74367" y="760413"/>
                  <a:pt x="69839" y="771181"/>
                  <a:pt x="66167" y="782198"/>
                </a:cubicBezTo>
                <a:cubicBezTo>
                  <a:pt x="73512" y="811576"/>
                  <a:pt x="72151" y="844654"/>
                  <a:pt x="88201" y="870333"/>
                </a:cubicBezTo>
                <a:cubicBezTo>
                  <a:pt x="110221" y="905565"/>
                  <a:pt x="143099" y="933538"/>
                  <a:pt x="176336" y="958467"/>
                </a:cubicBezTo>
                <a:cubicBezTo>
                  <a:pt x="211808" y="985072"/>
                  <a:pt x="235946" y="999930"/>
                  <a:pt x="264471" y="1035586"/>
                </a:cubicBezTo>
                <a:cubicBezTo>
                  <a:pt x="281014" y="1056264"/>
                  <a:pt x="289813" y="1082962"/>
                  <a:pt x="308538" y="1101687"/>
                </a:cubicBezTo>
                <a:cubicBezTo>
                  <a:pt x="354142" y="1147290"/>
                  <a:pt x="346105" y="1143407"/>
                  <a:pt x="396673" y="1178805"/>
                </a:cubicBezTo>
                <a:cubicBezTo>
                  <a:pt x="418367" y="1193991"/>
                  <a:pt x="439089" y="1211029"/>
                  <a:pt x="462774" y="1222872"/>
                </a:cubicBezTo>
                <a:cubicBezTo>
                  <a:pt x="476317" y="1229643"/>
                  <a:pt x="492153" y="1230217"/>
                  <a:pt x="506842" y="1233889"/>
                </a:cubicBezTo>
                <a:cubicBezTo>
                  <a:pt x="521531" y="1244906"/>
                  <a:pt x="535339" y="1257209"/>
                  <a:pt x="550909" y="1266940"/>
                </a:cubicBezTo>
                <a:cubicBezTo>
                  <a:pt x="604049" y="1300152"/>
                  <a:pt x="580326" y="1279547"/>
                  <a:pt x="628027" y="1299990"/>
                </a:cubicBezTo>
                <a:cubicBezTo>
                  <a:pt x="643122" y="1306459"/>
                  <a:pt x="657739" y="1314048"/>
                  <a:pt x="672095" y="1322024"/>
                </a:cubicBezTo>
                <a:cubicBezTo>
                  <a:pt x="690813" y="1332423"/>
                  <a:pt x="710049" y="1342227"/>
                  <a:pt x="727179" y="1355075"/>
                </a:cubicBezTo>
                <a:cubicBezTo>
                  <a:pt x="739643" y="1364423"/>
                  <a:pt x="748505" y="1377865"/>
                  <a:pt x="760230" y="1388125"/>
                </a:cubicBezTo>
                <a:cubicBezTo>
                  <a:pt x="777926" y="1403609"/>
                  <a:pt x="796503" y="1418085"/>
                  <a:pt x="815314" y="1432193"/>
                </a:cubicBezTo>
                <a:cubicBezTo>
                  <a:pt x="825906" y="1440137"/>
                  <a:pt x="837591" y="1446530"/>
                  <a:pt x="848365" y="1454226"/>
                </a:cubicBezTo>
                <a:cubicBezTo>
                  <a:pt x="863306" y="1464898"/>
                  <a:pt x="877491" y="1476605"/>
                  <a:pt x="892432" y="1487277"/>
                </a:cubicBezTo>
                <a:cubicBezTo>
                  <a:pt x="903206" y="1494973"/>
                  <a:pt x="915311" y="1500834"/>
                  <a:pt x="925483" y="1509311"/>
                </a:cubicBezTo>
                <a:cubicBezTo>
                  <a:pt x="957292" y="1535819"/>
                  <a:pt x="958902" y="1542915"/>
                  <a:pt x="980567" y="1575412"/>
                </a:cubicBezTo>
                <a:cubicBezTo>
                  <a:pt x="984239" y="1590101"/>
                  <a:pt x="987424" y="1604921"/>
                  <a:pt x="991584" y="1619480"/>
                </a:cubicBezTo>
                <a:cubicBezTo>
                  <a:pt x="994774" y="1630646"/>
                  <a:pt x="1002601" y="1640917"/>
                  <a:pt x="1002601" y="1652530"/>
                </a:cubicBezTo>
                <a:cubicBezTo>
                  <a:pt x="1002601" y="1693092"/>
                  <a:pt x="1001422" y="1734365"/>
                  <a:pt x="991584" y="1773716"/>
                </a:cubicBezTo>
                <a:cubicBezTo>
                  <a:pt x="986391" y="1794490"/>
                  <a:pt x="968932" y="1810082"/>
                  <a:pt x="958533" y="1828800"/>
                </a:cubicBezTo>
                <a:cubicBezTo>
                  <a:pt x="944663" y="1853766"/>
                  <a:pt x="934254" y="1884151"/>
                  <a:pt x="914466" y="1905918"/>
                </a:cubicBezTo>
                <a:cubicBezTo>
                  <a:pt x="886518" y="1936660"/>
                  <a:pt x="859569" y="1969125"/>
                  <a:pt x="826331" y="1994053"/>
                </a:cubicBezTo>
                <a:cubicBezTo>
                  <a:pt x="811642" y="2005070"/>
                  <a:pt x="797205" y="2016432"/>
                  <a:pt x="782263" y="2027104"/>
                </a:cubicBezTo>
                <a:cubicBezTo>
                  <a:pt x="771489" y="2034800"/>
                  <a:pt x="759385" y="2040661"/>
                  <a:pt x="749213" y="2049137"/>
                </a:cubicBezTo>
                <a:cubicBezTo>
                  <a:pt x="737244" y="2059111"/>
                  <a:pt x="729126" y="2073545"/>
                  <a:pt x="716162" y="2082188"/>
                </a:cubicBezTo>
                <a:cubicBezTo>
                  <a:pt x="695665" y="2095853"/>
                  <a:pt x="670558" y="2101574"/>
                  <a:pt x="650061" y="2115239"/>
                </a:cubicBezTo>
                <a:cubicBezTo>
                  <a:pt x="516069" y="2204567"/>
                  <a:pt x="725105" y="2094240"/>
                  <a:pt x="572943" y="2170323"/>
                </a:cubicBezTo>
                <a:cubicBezTo>
                  <a:pt x="546355" y="2210203"/>
                  <a:pt x="553692" y="2207143"/>
                  <a:pt x="506842" y="2236424"/>
                </a:cubicBezTo>
                <a:cubicBezTo>
                  <a:pt x="492915" y="2245128"/>
                  <a:pt x="475913" y="2248604"/>
                  <a:pt x="462774" y="2258458"/>
                </a:cubicBezTo>
                <a:cubicBezTo>
                  <a:pt x="446155" y="2270922"/>
                  <a:pt x="434479" y="2289006"/>
                  <a:pt x="418707" y="2302525"/>
                </a:cubicBezTo>
                <a:cubicBezTo>
                  <a:pt x="408654" y="2311142"/>
                  <a:pt x="396249" y="2316615"/>
                  <a:pt x="385656" y="2324559"/>
                </a:cubicBezTo>
                <a:cubicBezTo>
                  <a:pt x="366845" y="2338667"/>
                  <a:pt x="348147" y="2353004"/>
                  <a:pt x="330572" y="2368626"/>
                </a:cubicBezTo>
                <a:cubicBezTo>
                  <a:pt x="265443" y="2426518"/>
                  <a:pt x="306108" y="2395332"/>
                  <a:pt x="253454" y="2456761"/>
                </a:cubicBezTo>
                <a:cubicBezTo>
                  <a:pt x="243314" y="2468591"/>
                  <a:pt x="230377" y="2477843"/>
                  <a:pt x="220403" y="2489812"/>
                </a:cubicBezTo>
                <a:cubicBezTo>
                  <a:pt x="211926" y="2499984"/>
                  <a:pt x="206065" y="2512089"/>
                  <a:pt x="198369" y="2522863"/>
                </a:cubicBezTo>
                <a:cubicBezTo>
                  <a:pt x="187697" y="2537804"/>
                  <a:pt x="175991" y="2551989"/>
                  <a:pt x="165319" y="2566930"/>
                </a:cubicBezTo>
                <a:cubicBezTo>
                  <a:pt x="157623" y="2577704"/>
                  <a:pt x="150981" y="2589207"/>
                  <a:pt x="143285" y="2599981"/>
                </a:cubicBezTo>
                <a:cubicBezTo>
                  <a:pt x="106533" y="2651434"/>
                  <a:pt x="103581" y="2644156"/>
                  <a:pt x="77184" y="2710149"/>
                </a:cubicBezTo>
                <a:cubicBezTo>
                  <a:pt x="67793" y="2733627"/>
                  <a:pt x="58265" y="2801627"/>
                  <a:pt x="55150" y="2820318"/>
                </a:cubicBezTo>
                <a:cubicBezTo>
                  <a:pt x="51478" y="2974554"/>
                  <a:pt x="50425" y="3128875"/>
                  <a:pt x="44133" y="3283026"/>
                </a:cubicBezTo>
                <a:cubicBezTo>
                  <a:pt x="43074" y="3308972"/>
                  <a:pt x="39948" y="3335093"/>
                  <a:pt x="33116" y="3360145"/>
                </a:cubicBezTo>
                <a:cubicBezTo>
                  <a:pt x="28795" y="3375989"/>
                  <a:pt x="18427" y="3389523"/>
                  <a:pt x="11083" y="3404212"/>
                </a:cubicBezTo>
                <a:cubicBezTo>
                  <a:pt x="3416" y="3503880"/>
                  <a:pt x="-9462" y="3561720"/>
                  <a:pt x="11083" y="3657600"/>
                </a:cubicBezTo>
                <a:cubicBezTo>
                  <a:pt x="14524" y="3673658"/>
                  <a:pt x="25772" y="3686978"/>
                  <a:pt x="33116" y="3701667"/>
                </a:cubicBezTo>
                <a:lnTo>
                  <a:pt x="22100" y="3756752"/>
                </a:lnTo>
              </a:path>
            </a:pathLst>
          </a:cu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8110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5F296-A597-E2AF-F31F-F0ADF507A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4BA8E4-9F04-9A58-901C-62EDDA6FECCA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42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51F4F7-BC77-17BD-5EEA-DE97C21A55DE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42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37AEBB-437F-6DE0-7571-2E611EB62E3D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21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C0FDC9-CF26-9EE9-95A4-54B1EAF2B4DA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-10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E76264-7045-85EB-241C-8F3D7DD97247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1-21</a:t>
            </a:r>
            <a:endParaRPr lang="nl-B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DE84DE-405B-E8F5-CBDA-9BE55E95293B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2-32</a:t>
            </a:r>
            <a:endParaRPr lang="nl-BE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CD05F5-417C-E746-B9FB-5556CE733A6F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3-42</a:t>
            </a:r>
            <a:endParaRPr lang="nl-BE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0CA407-FB2D-71C2-9C7C-854AE7221067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7B5325C-F9F5-6180-9EC5-2D509740ABD2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7573518-5009-AF11-B4F8-AB88703C3C7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50C01A0-233E-2D60-269C-92013F0955FF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539304D-AD1C-FFE8-3E94-2CF423488DA4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E1FE725-7570-A969-B3AF-ADA8E20FA0F7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2CADC10-5BE0-0F6A-FCFE-BF0BE031E35B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39669DA-5FF2-4593-313D-217B922A84BA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466780E-0D79-AC3A-415C-ED62F81A4250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B291D16-5C0F-F895-2084-28A0F02B620C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16A2163-F028-945A-A778-223D276E8ED3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26722CF-4C65-47CC-58E6-007C525782C4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D7D899C-F1E5-A04D-3119-8587B9EC9B42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18FBC70-4C1E-C2FA-C459-8DD5AC1BD543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3B5B7034-9DC0-29E4-9FDD-CCA245498366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0779383-D67B-EB70-7310-7681CF6968FC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D39BA6D-B7BC-A048-6E50-C7C4218624AB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16AE785-3E2E-E25C-A8F5-EF6EFABC7E1B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986D9EA-1D73-22FD-2B6C-537A882BA86E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1C18EB4-3CD7-5549-692C-28BEAE4E0E61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EE8588A-87C9-745C-D6E3-5C451C8777ED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FFE6030-01AA-483A-D44E-BA5FBE70D57D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D909B8C-375C-EB4A-6FE7-8127345749F2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80612460-7DA9-81BF-E9F3-C853C5603B5F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8539FFC-5E83-4905-F8B6-D0580420A7B4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31F572DA-FFA7-BA19-7B46-4CBBA3F3B3E9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4BA276-8839-E390-10CD-373C84858778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ED6A64D-E3E8-6D86-1102-EEE2FB1074C1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3BF7D7A-3CCF-6457-D522-802818E9ADDB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2864B89-60DC-4C79-87E4-268A63AA1690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48D403D-014A-DCC8-8658-83357DA5E5B0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2B0DA2E-0099-1D94-2C15-D0BB25D8CBA6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2FE9CD6-D242-C292-9389-82CA82615E5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DAA2713-EF1F-39CF-64D7-89B7013E8A85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8ED906-ED0D-C705-4D81-6AA81DF6D87A}"/>
              </a:ext>
            </a:extLst>
          </p:cNvPr>
          <p:cNvSpPr txBox="1"/>
          <p:nvPr/>
        </p:nvSpPr>
        <p:spPr>
          <a:xfrm>
            <a:off x="807599" y="419443"/>
            <a:ext cx="30934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Table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myColumn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en-US" dirty="0">
                <a:latin typeface="Consolas" panose="020B0609020204030204" pitchFamily="49" charset="0"/>
              </a:rPr>
              <a:t> 22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1C599CC-915D-7B58-983B-28E2D0D6516B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846BCA8F-ECEB-8697-4FDE-AFB93C0A0CFC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27EFC9B-E714-2FD4-E51C-C36C7AAA03A4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7EA334B-FDBC-5AEB-D08E-913C90FB0F04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4EC4536-3B77-7400-82F5-CBF7785D5E4C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7F89521-C00D-9D09-FDAC-B59B0B140BC4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AAD8DA2-5307-CBF3-5524-50B58680F177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29127C4-E88E-2871-8823-43AAA7B5A57A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A32C95A-6A08-A1A0-95F8-3EBC117DCAB2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1-16</a:t>
            </a:r>
            <a:endParaRPr lang="nl-BE" sz="20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571D1C3-6AD9-B30E-979A-E39FD1EB4A06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-5</a:t>
            </a:r>
            <a:endParaRPr lang="nl-BE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B962DD9-9963-7A14-BF11-F1C5C9586DB8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-10</a:t>
            </a:r>
            <a:endParaRPr lang="nl-BE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9527AB-BC76-91F7-F1D7-7D27CD19A871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7-21</a:t>
            </a:r>
            <a:endParaRPr lang="nl-BE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EFF558E-48F7-1C59-BAEE-3F4CBDB0C8CE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2-26</a:t>
            </a:r>
            <a:endParaRPr lang="nl-BE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7A5DBE2-A837-0ED4-231F-247408695CA1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7-32</a:t>
            </a:r>
            <a:endParaRPr lang="nl-BE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0D4A6D2-7AC1-6C40-44B4-AC410E66DBD0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3-37</a:t>
            </a:r>
            <a:endParaRPr lang="nl-BE" sz="2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AC02212-58F1-E077-93AA-AB535BF0E64D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8-42</a:t>
            </a:r>
            <a:endParaRPr lang="nl-BE" sz="20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CB16051-7A0F-502B-1E47-AC3DD1E0FCDE}"/>
              </a:ext>
            </a:extLst>
          </p:cNvPr>
          <p:cNvSpPr/>
          <p:nvPr/>
        </p:nvSpPr>
        <p:spPr>
          <a:xfrm>
            <a:off x="6181725" y="1714500"/>
            <a:ext cx="1876425" cy="3343275"/>
          </a:xfrm>
          <a:custGeom>
            <a:avLst/>
            <a:gdLst>
              <a:gd name="connsiteX0" fmla="*/ 552450 w 1876425"/>
              <a:gd name="connsiteY0" fmla="*/ 0 h 3343275"/>
              <a:gd name="connsiteX1" fmla="*/ 781050 w 1876425"/>
              <a:gd name="connsiteY1" fmla="*/ 133350 h 3343275"/>
              <a:gd name="connsiteX2" fmla="*/ 1133475 w 1876425"/>
              <a:gd name="connsiteY2" fmla="*/ 266700 h 3343275"/>
              <a:gd name="connsiteX3" fmla="*/ 1371600 w 1876425"/>
              <a:gd name="connsiteY3" fmla="*/ 333375 h 3343275"/>
              <a:gd name="connsiteX4" fmla="*/ 1600200 w 1876425"/>
              <a:gd name="connsiteY4" fmla="*/ 409575 h 3343275"/>
              <a:gd name="connsiteX5" fmla="*/ 1685925 w 1876425"/>
              <a:gd name="connsiteY5" fmla="*/ 457200 h 3343275"/>
              <a:gd name="connsiteX6" fmla="*/ 1752600 w 1876425"/>
              <a:gd name="connsiteY6" fmla="*/ 523875 h 3343275"/>
              <a:gd name="connsiteX7" fmla="*/ 1838325 w 1876425"/>
              <a:gd name="connsiteY7" fmla="*/ 628650 h 3343275"/>
              <a:gd name="connsiteX8" fmla="*/ 1857375 w 1876425"/>
              <a:gd name="connsiteY8" fmla="*/ 666750 h 3343275"/>
              <a:gd name="connsiteX9" fmla="*/ 1866900 w 1876425"/>
              <a:gd name="connsiteY9" fmla="*/ 704850 h 3343275"/>
              <a:gd name="connsiteX10" fmla="*/ 1876425 w 1876425"/>
              <a:gd name="connsiteY10" fmla="*/ 733425 h 3343275"/>
              <a:gd name="connsiteX11" fmla="*/ 1857375 w 1876425"/>
              <a:gd name="connsiteY11" fmla="*/ 885825 h 3343275"/>
              <a:gd name="connsiteX12" fmla="*/ 1790700 w 1876425"/>
              <a:gd name="connsiteY12" fmla="*/ 1019175 h 3343275"/>
              <a:gd name="connsiteX13" fmla="*/ 1743075 w 1876425"/>
              <a:gd name="connsiteY13" fmla="*/ 1133475 h 3343275"/>
              <a:gd name="connsiteX14" fmla="*/ 1695450 w 1876425"/>
              <a:gd name="connsiteY14" fmla="*/ 1209675 h 3343275"/>
              <a:gd name="connsiteX15" fmla="*/ 1676400 w 1876425"/>
              <a:gd name="connsiteY15" fmla="*/ 1238250 h 3343275"/>
              <a:gd name="connsiteX16" fmla="*/ 1619250 w 1876425"/>
              <a:gd name="connsiteY16" fmla="*/ 1257300 h 3343275"/>
              <a:gd name="connsiteX17" fmla="*/ 1552575 w 1876425"/>
              <a:gd name="connsiteY17" fmla="*/ 1295400 h 3343275"/>
              <a:gd name="connsiteX18" fmla="*/ 1400175 w 1876425"/>
              <a:gd name="connsiteY18" fmla="*/ 1352550 h 3343275"/>
              <a:gd name="connsiteX19" fmla="*/ 1352550 w 1876425"/>
              <a:gd name="connsiteY19" fmla="*/ 1371600 h 3343275"/>
              <a:gd name="connsiteX20" fmla="*/ 1181100 w 1876425"/>
              <a:gd name="connsiteY20" fmla="*/ 1419225 h 3343275"/>
              <a:gd name="connsiteX21" fmla="*/ 962025 w 1876425"/>
              <a:gd name="connsiteY21" fmla="*/ 1495425 h 3343275"/>
              <a:gd name="connsiteX22" fmla="*/ 895350 w 1876425"/>
              <a:gd name="connsiteY22" fmla="*/ 1524000 h 3343275"/>
              <a:gd name="connsiteX23" fmla="*/ 838200 w 1876425"/>
              <a:gd name="connsiteY23" fmla="*/ 1562100 h 3343275"/>
              <a:gd name="connsiteX24" fmla="*/ 762000 w 1876425"/>
              <a:gd name="connsiteY24" fmla="*/ 1619250 h 3343275"/>
              <a:gd name="connsiteX25" fmla="*/ 733425 w 1876425"/>
              <a:gd name="connsiteY25" fmla="*/ 1638300 h 3343275"/>
              <a:gd name="connsiteX26" fmla="*/ 628650 w 1876425"/>
              <a:gd name="connsiteY26" fmla="*/ 1752600 h 3343275"/>
              <a:gd name="connsiteX27" fmla="*/ 600075 w 1876425"/>
              <a:gd name="connsiteY27" fmla="*/ 1800225 h 3343275"/>
              <a:gd name="connsiteX28" fmla="*/ 457200 w 1876425"/>
              <a:gd name="connsiteY28" fmla="*/ 1971675 h 3343275"/>
              <a:gd name="connsiteX29" fmla="*/ 238125 w 1876425"/>
              <a:gd name="connsiteY29" fmla="*/ 2209800 h 3343275"/>
              <a:gd name="connsiteX30" fmla="*/ 171450 w 1876425"/>
              <a:gd name="connsiteY30" fmla="*/ 2314575 h 3343275"/>
              <a:gd name="connsiteX31" fmla="*/ 114300 w 1876425"/>
              <a:gd name="connsiteY31" fmla="*/ 2419350 h 3343275"/>
              <a:gd name="connsiteX32" fmla="*/ 85725 w 1876425"/>
              <a:gd name="connsiteY32" fmla="*/ 2466975 h 3343275"/>
              <a:gd name="connsiteX33" fmla="*/ 57150 w 1876425"/>
              <a:gd name="connsiteY33" fmla="*/ 2524125 h 3343275"/>
              <a:gd name="connsiteX34" fmla="*/ 28575 w 1876425"/>
              <a:gd name="connsiteY34" fmla="*/ 2609850 h 3343275"/>
              <a:gd name="connsiteX35" fmla="*/ 19050 w 1876425"/>
              <a:gd name="connsiteY35" fmla="*/ 2895600 h 3343275"/>
              <a:gd name="connsiteX36" fmla="*/ 9525 w 1876425"/>
              <a:gd name="connsiteY36" fmla="*/ 2924175 h 3343275"/>
              <a:gd name="connsiteX37" fmla="*/ 0 w 1876425"/>
              <a:gd name="connsiteY37" fmla="*/ 3009900 h 3343275"/>
              <a:gd name="connsiteX38" fmla="*/ 9525 w 1876425"/>
              <a:gd name="connsiteY38" fmla="*/ 3219450 h 3343275"/>
              <a:gd name="connsiteX39" fmla="*/ 0 w 1876425"/>
              <a:gd name="connsiteY39" fmla="*/ 3343275 h 3343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76425" h="3343275">
                <a:moveTo>
                  <a:pt x="552450" y="0"/>
                </a:moveTo>
                <a:cubicBezTo>
                  <a:pt x="628650" y="44450"/>
                  <a:pt x="699401" y="99948"/>
                  <a:pt x="781050" y="133350"/>
                </a:cubicBezTo>
                <a:cubicBezTo>
                  <a:pt x="938546" y="197780"/>
                  <a:pt x="984537" y="222019"/>
                  <a:pt x="1133475" y="266700"/>
                </a:cubicBezTo>
                <a:cubicBezTo>
                  <a:pt x="1212427" y="290385"/>
                  <a:pt x="1292123" y="311519"/>
                  <a:pt x="1371600" y="333375"/>
                </a:cubicBezTo>
                <a:cubicBezTo>
                  <a:pt x="1533533" y="377907"/>
                  <a:pt x="1476511" y="352488"/>
                  <a:pt x="1600200" y="409575"/>
                </a:cubicBezTo>
                <a:cubicBezTo>
                  <a:pt x="1620420" y="418907"/>
                  <a:pt x="1671027" y="444785"/>
                  <a:pt x="1685925" y="457200"/>
                </a:cubicBezTo>
                <a:cubicBezTo>
                  <a:pt x="1710071" y="477322"/>
                  <a:pt x="1731213" y="500843"/>
                  <a:pt x="1752600" y="523875"/>
                </a:cubicBezTo>
                <a:cubicBezTo>
                  <a:pt x="1765132" y="537371"/>
                  <a:pt x="1821987" y="602509"/>
                  <a:pt x="1838325" y="628650"/>
                </a:cubicBezTo>
                <a:cubicBezTo>
                  <a:pt x="1845850" y="640691"/>
                  <a:pt x="1852389" y="653455"/>
                  <a:pt x="1857375" y="666750"/>
                </a:cubicBezTo>
                <a:cubicBezTo>
                  <a:pt x="1861972" y="679007"/>
                  <a:pt x="1863304" y="692263"/>
                  <a:pt x="1866900" y="704850"/>
                </a:cubicBezTo>
                <a:cubicBezTo>
                  <a:pt x="1869658" y="714504"/>
                  <a:pt x="1873250" y="723900"/>
                  <a:pt x="1876425" y="733425"/>
                </a:cubicBezTo>
                <a:cubicBezTo>
                  <a:pt x="1870075" y="784225"/>
                  <a:pt x="1866533" y="835455"/>
                  <a:pt x="1857375" y="885825"/>
                </a:cubicBezTo>
                <a:cubicBezTo>
                  <a:pt x="1844762" y="955199"/>
                  <a:pt x="1825238" y="950099"/>
                  <a:pt x="1790700" y="1019175"/>
                </a:cubicBezTo>
                <a:cubicBezTo>
                  <a:pt x="1772241" y="1056092"/>
                  <a:pt x="1761534" y="1096558"/>
                  <a:pt x="1743075" y="1133475"/>
                </a:cubicBezTo>
                <a:cubicBezTo>
                  <a:pt x="1713239" y="1193147"/>
                  <a:pt x="1736666" y="1151973"/>
                  <a:pt x="1695450" y="1209675"/>
                </a:cubicBezTo>
                <a:cubicBezTo>
                  <a:pt x="1688796" y="1218990"/>
                  <a:pt x="1686108" y="1232183"/>
                  <a:pt x="1676400" y="1238250"/>
                </a:cubicBezTo>
                <a:cubicBezTo>
                  <a:pt x="1659372" y="1248893"/>
                  <a:pt x="1637482" y="1248885"/>
                  <a:pt x="1619250" y="1257300"/>
                </a:cubicBezTo>
                <a:cubicBezTo>
                  <a:pt x="1596008" y="1268027"/>
                  <a:pt x="1575736" y="1284501"/>
                  <a:pt x="1552575" y="1295400"/>
                </a:cubicBezTo>
                <a:cubicBezTo>
                  <a:pt x="1470623" y="1333965"/>
                  <a:pt x="1471009" y="1326792"/>
                  <a:pt x="1400175" y="1352550"/>
                </a:cubicBezTo>
                <a:cubicBezTo>
                  <a:pt x="1384107" y="1358393"/>
                  <a:pt x="1368892" y="1366572"/>
                  <a:pt x="1352550" y="1371600"/>
                </a:cubicBezTo>
                <a:cubicBezTo>
                  <a:pt x="1195702" y="1419861"/>
                  <a:pt x="1362819" y="1356322"/>
                  <a:pt x="1181100" y="1419225"/>
                </a:cubicBezTo>
                <a:cubicBezTo>
                  <a:pt x="923992" y="1508224"/>
                  <a:pt x="1116256" y="1451359"/>
                  <a:pt x="962025" y="1495425"/>
                </a:cubicBezTo>
                <a:cubicBezTo>
                  <a:pt x="858014" y="1564766"/>
                  <a:pt x="1018365" y="1462493"/>
                  <a:pt x="895350" y="1524000"/>
                </a:cubicBezTo>
                <a:cubicBezTo>
                  <a:pt x="874872" y="1534239"/>
                  <a:pt x="856831" y="1548792"/>
                  <a:pt x="838200" y="1562100"/>
                </a:cubicBezTo>
                <a:cubicBezTo>
                  <a:pt x="812364" y="1580554"/>
                  <a:pt x="788418" y="1601638"/>
                  <a:pt x="762000" y="1619250"/>
                </a:cubicBezTo>
                <a:cubicBezTo>
                  <a:pt x="752475" y="1625600"/>
                  <a:pt x="742117" y="1630850"/>
                  <a:pt x="733425" y="1638300"/>
                </a:cubicBezTo>
                <a:cubicBezTo>
                  <a:pt x="706272" y="1661574"/>
                  <a:pt x="641734" y="1735590"/>
                  <a:pt x="628650" y="1752600"/>
                </a:cubicBezTo>
                <a:cubicBezTo>
                  <a:pt x="617362" y="1767274"/>
                  <a:pt x="611023" y="1785296"/>
                  <a:pt x="600075" y="1800225"/>
                </a:cubicBezTo>
                <a:cubicBezTo>
                  <a:pt x="577420" y="1831118"/>
                  <a:pt x="488702" y="1940173"/>
                  <a:pt x="457200" y="1971675"/>
                </a:cubicBezTo>
                <a:cubicBezTo>
                  <a:pt x="410045" y="2018830"/>
                  <a:pt x="271962" y="2150585"/>
                  <a:pt x="238125" y="2209800"/>
                </a:cubicBezTo>
                <a:cubicBezTo>
                  <a:pt x="144922" y="2372906"/>
                  <a:pt x="244673" y="2204741"/>
                  <a:pt x="171450" y="2314575"/>
                </a:cubicBezTo>
                <a:cubicBezTo>
                  <a:pt x="135666" y="2368251"/>
                  <a:pt x="146841" y="2359691"/>
                  <a:pt x="114300" y="2419350"/>
                </a:cubicBezTo>
                <a:cubicBezTo>
                  <a:pt x="105435" y="2435603"/>
                  <a:pt x="94590" y="2450722"/>
                  <a:pt x="85725" y="2466975"/>
                </a:cubicBezTo>
                <a:cubicBezTo>
                  <a:pt x="75526" y="2485673"/>
                  <a:pt x="65060" y="2504350"/>
                  <a:pt x="57150" y="2524125"/>
                </a:cubicBezTo>
                <a:cubicBezTo>
                  <a:pt x="45963" y="2552091"/>
                  <a:pt x="28575" y="2609850"/>
                  <a:pt x="28575" y="2609850"/>
                </a:cubicBezTo>
                <a:cubicBezTo>
                  <a:pt x="25400" y="2705100"/>
                  <a:pt x="24815" y="2800472"/>
                  <a:pt x="19050" y="2895600"/>
                </a:cubicBezTo>
                <a:cubicBezTo>
                  <a:pt x="18443" y="2905622"/>
                  <a:pt x="11176" y="2914271"/>
                  <a:pt x="9525" y="2924175"/>
                </a:cubicBezTo>
                <a:cubicBezTo>
                  <a:pt x="4798" y="2952535"/>
                  <a:pt x="3175" y="2981325"/>
                  <a:pt x="0" y="3009900"/>
                </a:cubicBezTo>
                <a:cubicBezTo>
                  <a:pt x="3175" y="3079750"/>
                  <a:pt x="9525" y="3149528"/>
                  <a:pt x="9525" y="3219450"/>
                </a:cubicBezTo>
                <a:cubicBezTo>
                  <a:pt x="9525" y="3260847"/>
                  <a:pt x="0" y="3343275"/>
                  <a:pt x="0" y="3343275"/>
                </a:cubicBezTo>
              </a:path>
            </a:pathLst>
          </a:cu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8FACDB6-4F4F-1320-CAD7-3AD7D436967C}"/>
              </a:ext>
            </a:extLst>
          </p:cNvPr>
          <p:cNvCxnSpPr>
            <a:cxnSpLocks/>
          </p:cNvCxnSpPr>
          <p:nvPr/>
        </p:nvCxnSpPr>
        <p:spPr>
          <a:xfrm>
            <a:off x="6181725" y="5029200"/>
            <a:ext cx="5019675" cy="0"/>
          </a:xfrm>
          <a:prstGeom prst="straightConnector1">
            <a:avLst/>
          </a:prstGeom>
          <a:noFill/>
          <a:ln w="571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733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AA7EB-D4B0-25EC-F32D-86FEB9F35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ta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3F9FE-8992-CC94-3C99-6AFA033654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]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CI_myindex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LTER TABLE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DD CONSTRAINT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PK_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PRIMARY KEY CLUSTERED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43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2C13BF-25E2-7F07-3995-A95D902A38C6}"/>
              </a:ext>
            </a:extLst>
          </p:cNvPr>
          <p:cNvSpPr txBox="1"/>
          <p:nvPr/>
        </p:nvSpPr>
        <p:spPr>
          <a:xfrm>
            <a:off x="308211" y="72078"/>
            <a:ext cx="8570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Thank you, partners 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" pitchFamily="2" charset="0"/>
                <a:ea typeface="+mn-ea"/>
                <a:cs typeface="+mn-cs"/>
              </a:rPr>
              <a:t>💖</a:t>
            </a:r>
            <a:endParaRPr kumimoji="0" lang="LID4096" sz="5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pic>
        <p:nvPicPr>
          <p:cNvPr id="2" name="Picture 1" descr="A logo with a circle and a greek key&#10;&#10;AI-generated content may be incorrect.">
            <a:extLst>
              <a:ext uri="{FF2B5EF4-FFF2-40B4-BE49-F238E27FC236}">
                <a16:creationId xmlns:a16="http://schemas.microsoft.com/office/drawing/2014/main" id="{4A161B55-AFC2-491F-3771-3E17FCCF63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9548" y="72078"/>
            <a:ext cx="674821" cy="671974"/>
          </a:xfrm>
          <a:prstGeom prst="rect">
            <a:avLst/>
          </a:prstGeom>
        </p:spPr>
      </p:pic>
      <p:pic>
        <p:nvPicPr>
          <p:cNvPr id="21" name="Picture 20" descr="A blue and white logo&#10;&#10;AI-generated content may be incorrect.">
            <a:extLst>
              <a:ext uri="{FF2B5EF4-FFF2-40B4-BE49-F238E27FC236}">
                <a16:creationId xmlns:a16="http://schemas.microsoft.com/office/drawing/2014/main" id="{456D0764-1F51-D909-7263-994F37FFC2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3" t="28994" r="14642" b="27273"/>
          <a:stretch>
            <a:fillRect/>
          </a:stretch>
        </p:blipFill>
        <p:spPr>
          <a:xfrm>
            <a:off x="381001" y="1206500"/>
            <a:ext cx="1409700" cy="612075"/>
          </a:xfrm>
          <a:prstGeom prst="rect">
            <a:avLst/>
          </a:prstGeom>
        </p:spPr>
      </p:pic>
      <p:pic>
        <p:nvPicPr>
          <p:cNvPr id="24" name="Picture 23" descr="A logo with orange and blue text&#10;&#10;AI-generated content may be incorrect.">
            <a:extLst>
              <a:ext uri="{FF2B5EF4-FFF2-40B4-BE49-F238E27FC236}">
                <a16:creationId xmlns:a16="http://schemas.microsoft.com/office/drawing/2014/main" id="{23E166AE-7595-D906-8BA5-CCFB79183D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190" y="1097254"/>
            <a:ext cx="1860550" cy="709035"/>
          </a:xfrm>
          <a:prstGeom prst="rect">
            <a:avLst/>
          </a:prstGeom>
        </p:spPr>
      </p:pic>
      <p:pic>
        <p:nvPicPr>
          <p:cNvPr id="27" name="Picture 26" descr="A blue letters on a black background&#10;&#10;AI-generated content may be incorrect.">
            <a:extLst>
              <a:ext uri="{FF2B5EF4-FFF2-40B4-BE49-F238E27FC236}">
                <a16:creationId xmlns:a16="http://schemas.microsoft.com/office/drawing/2014/main" id="{E79A0B42-F6A7-B35E-8080-E3D3D2FBDE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2" t="14867" r="6171" b="9022"/>
          <a:stretch>
            <a:fillRect/>
          </a:stretch>
        </p:blipFill>
        <p:spPr>
          <a:xfrm>
            <a:off x="4822230" y="1357376"/>
            <a:ext cx="1842483" cy="363473"/>
          </a:xfrm>
          <a:prstGeom prst="rect">
            <a:avLst/>
          </a:prstGeom>
        </p:spPr>
      </p:pic>
      <p:pic>
        <p:nvPicPr>
          <p:cNvPr id="31" name="Picture 30" descr="A black and red text&#10;&#10;AI-generated content may be incorrect.">
            <a:extLst>
              <a:ext uri="{FF2B5EF4-FFF2-40B4-BE49-F238E27FC236}">
                <a16:creationId xmlns:a16="http://schemas.microsoft.com/office/drawing/2014/main" id="{205E3A95-C808-E599-B5E5-0581D8C6A7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743" y="1170907"/>
            <a:ext cx="2338648" cy="600075"/>
          </a:xfrm>
          <a:prstGeom prst="rect">
            <a:avLst/>
          </a:prstGeom>
        </p:spPr>
      </p:pic>
      <p:pic>
        <p:nvPicPr>
          <p:cNvPr id="33" name="Picture 32" descr="A logo with text above it&#10;&#10;AI-generated content may be incorrect.">
            <a:extLst>
              <a:ext uri="{FF2B5EF4-FFF2-40B4-BE49-F238E27FC236}">
                <a16:creationId xmlns:a16="http://schemas.microsoft.com/office/drawing/2014/main" id="{01D49201-46DF-CF49-CBD3-8D770FCD44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22"/>
          <a:stretch>
            <a:fillRect/>
          </a:stretch>
        </p:blipFill>
        <p:spPr>
          <a:xfrm>
            <a:off x="9962623" y="1223089"/>
            <a:ext cx="1814335" cy="497760"/>
          </a:xfrm>
          <a:prstGeom prst="rect">
            <a:avLst/>
          </a:prstGeom>
        </p:spPr>
      </p:pic>
      <p:pic>
        <p:nvPicPr>
          <p:cNvPr id="35" name="Picture 34" descr="A black and orange text&#10;&#10;AI-generated content may be incorrect.">
            <a:extLst>
              <a:ext uri="{FF2B5EF4-FFF2-40B4-BE49-F238E27FC236}">
                <a16:creationId xmlns:a16="http://schemas.microsoft.com/office/drawing/2014/main" id="{87382D4C-35BC-D78B-6B07-AFB4643F84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46" y="2243476"/>
            <a:ext cx="1643571" cy="535829"/>
          </a:xfrm>
          <a:prstGeom prst="rect">
            <a:avLst/>
          </a:prstGeom>
        </p:spPr>
      </p:pic>
      <p:pic>
        <p:nvPicPr>
          <p:cNvPr id="37" name="Picture 36" descr="A blue and orange text&#10;&#10;AI-generated content may be incorrect.">
            <a:extLst>
              <a:ext uri="{FF2B5EF4-FFF2-40B4-BE49-F238E27FC236}">
                <a16:creationId xmlns:a16="http://schemas.microsoft.com/office/drawing/2014/main" id="{0F819C00-80E3-A719-44ED-B7560D6D12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773" y="2259367"/>
            <a:ext cx="1452449" cy="519938"/>
          </a:xfrm>
          <a:prstGeom prst="rect">
            <a:avLst/>
          </a:prstGeom>
        </p:spPr>
      </p:pic>
      <p:pic>
        <p:nvPicPr>
          <p:cNvPr id="41" name="Picture 40" descr="A close up of a logo&#10;&#10;AI-generated content may be incorrect.">
            <a:extLst>
              <a:ext uri="{FF2B5EF4-FFF2-40B4-BE49-F238E27FC236}">
                <a16:creationId xmlns:a16="http://schemas.microsoft.com/office/drawing/2014/main" id="{CF6EC8DF-A43E-296C-8722-B8EF56CD5C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744" y="2302434"/>
            <a:ext cx="1924050" cy="433804"/>
          </a:xfrm>
          <a:prstGeom prst="rect">
            <a:avLst/>
          </a:prstGeom>
        </p:spPr>
      </p:pic>
      <p:pic>
        <p:nvPicPr>
          <p:cNvPr id="43" name="Picture 42" descr="A blue x on a black background&#10;&#10;AI-generated content may be incorrect.">
            <a:extLst>
              <a:ext uri="{FF2B5EF4-FFF2-40B4-BE49-F238E27FC236}">
                <a16:creationId xmlns:a16="http://schemas.microsoft.com/office/drawing/2014/main" id="{067DEB41-7976-388C-9202-8E32408B53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230" y="2302434"/>
            <a:ext cx="1868177" cy="364209"/>
          </a:xfrm>
          <a:prstGeom prst="rect">
            <a:avLst/>
          </a:prstGeom>
        </p:spPr>
      </p:pic>
      <p:pic>
        <p:nvPicPr>
          <p:cNvPr id="47" name="Picture 46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9D2B9422-5C93-E39C-A32F-2771CAB3D2B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5949" y="2243476"/>
            <a:ext cx="2013843" cy="415962"/>
          </a:xfrm>
          <a:prstGeom prst="rect">
            <a:avLst/>
          </a:prstGeom>
        </p:spPr>
      </p:pic>
      <p:pic>
        <p:nvPicPr>
          <p:cNvPr id="49" name="Picture 48" descr="A black background with a letter c&#10;&#10;AI-generated content may be incorrect.">
            <a:extLst>
              <a:ext uri="{FF2B5EF4-FFF2-40B4-BE49-F238E27FC236}">
                <a16:creationId xmlns:a16="http://schemas.microsoft.com/office/drawing/2014/main" id="{E7B15D1D-7879-EA64-3BA1-2D7BCEB786A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9" t="30371" r="35466" b="29352"/>
          <a:stretch>
            <a:fillRect/>
          </a:stretch>
        </p:blipFill>
        <p:spPr>
          <a:xfrm>
            <a:off x="691604" y="3262467"/>
            <a:ext cx="714608" cy="980173"/>
          </a:xfrm>
          <a:prstGeom prst="rect">
            <a:avLst/>
          </a:prstGeom>
        </p:spPr>
      </p:pic>
      <p:pic>
        <p:nvPicPr>
          <p:cNvPr id="51" name="Picture 50" descr="A logo with orange and white circles&#10;&#10;AI-generated content may be incorrect.">
            <a:extLst>
              <a:ext uri="{FF2B5EF4-FFF2-40B4-BE49-F238E27FC236}">
                <a16:creationId xmlns:a16="http://schemas.microsoft.com/office/drawing/2014/main" id="{CC25EA1A-F9E7-3AA1-2D94-F85B1B58779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617" y="3512390"/>
            <a:ext cx="2320714" cy="290335"/>
          </a:xfrm>
          <a:prstGeom prst="rect">
            <a:avLst/>
          </a:prstGeom>
        </p:spPr>
      </p:pic>
      <p:pic>
        <p:nvPicPr>
          <p:cNvPr id="53" name="Picture 52" descr="A blue heart with a blue ribbon on a black background&#10;&#10;AI-generated content may be incorrect.">
            <a:extLst>
              <a:ext uri="{FF2B5EF4-FFF2-40B4-BE49-F238E27FC236}">
                <a16:creationId xmlns:a16="http://schemas.microsoft.com/office/drawing/2014/main" id="{7F2193CB-F714-24E3-41AA-5498B462A57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3" t="33023" r="8248" b="33389"/>
          <a:stretch>
            <a:fillRect/>
          </a:stretch>
        </p:blipFill>
        <p:spPr>
          <a:xfrm>
            <a:off x="4665219" y="3379812"/>
            <a:ext cx="1962552" cy="448313"/>
          </a:xfrm>
          <a:prstGeom prst="rect">
            <a:avLst/>
          </a:prstGeom>
        </p:spPr>
      </p:pic>
      <p:pic>
        <p:nvPicPr>
          <p:cNvPr id="55" name="Picture 54" descr="A black and red logo&#10;&#10;AI-generated content may be incorrect.">
            <a:extLst>
              <a:ext uri="{FF2B5EF4-FFF2-40B4-BE49-F238E27FC236}">
                <a16:creationId xmlns:a16="http://schemas.microsoft.com/office/drawing/2014/main" id="{DE0CA6D5-14FE-4600-1239-799F4BD2A0B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103" y="3225001"/>
            <a:ext cx="1870746" cy="701777"/>
          </a:xfrm>
          <a:prstGeom prst="rect">
            <a:avLst/>
          </a:prstGeom>
        </p:spPr>
      </p:pic>
      <p:pic>
        <p:nvPicPr>
          <p:cNvPr id="57" name="Picture 56" descr="A blue and black bar chart&#10;&#10;AI-generated content may be incorrect.">
            <a:extLst>
              <a:ext uri="{FF2B5EF4-FFF2-40B4-BE49-F238E27FC236}">
                <a16:creationId xmlns:a16="http://schemas.microsoft.com/office/drawing/2014/main" id="{CC75115E-F6FB-AC61-C2F4-66976CD2F3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022" y="3301932"/>
            <a:ext cx="1162290" cy="507143"/>
          </a:xfrm>
          <a:prstGeom prst="rect">
            <a:avLst/>
          </a:prstGeom>
        </p:spPr>
      </p:pic>
      <p:pic>
        <p:nvPicPr>
          <p:cNvPr id="59" name="Picture 58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ECD73BF8-7C8B-B3B5-0DAD-95AE79724F2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6" t="10469" r="5558" b="16622"/>
          <a:stretch>
            <a:fillRect/>
          </a:stretch>
        </p:blipFill>
        <p:spPr>
          <a:xfrm>
            <a:off x="267146" y="4686300"/>
            <a:ext cx="1624281" cy="373904"/>
          </a:xfrm>
          <a:prstGeom prst="rect">
            <a:avLst/>
          </a:prstGeom>
        </p:spPr>
      </p:pic>
      <p:pic>
        <p:nvPicPr>
          <p:cNvPr id="61" name="Picture 60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D3159922-6D0F-DA2F-F160-C2378881D1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716" y="4660152"/>
            <a:ext cx="1882562" cy="373903"/>
          </a:xfrm>
          <a:prstGeom prst="rect">
            <a:avLst/>
          </a:prstGeom>
        </p:spPr>
      </p:pic>
      <p:pic>
        <p:nvPicPr>
          <p:cNvPr id="63" name="Picture 62" descr="A blue and black logo&#10;&#10;AI-generated content may be incorrect.">
            <a:extLst>
              <a:ext uri="{FF2B5EF4-FFF2-40B4-BE49-F238E27FC236}">
                <a16:creationId xmlns:a16="http://schemas.microsoft.com/office/drawing/2014/main" id="{83131B31-EF81-DEAB-C4CB-860928A838E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16" b="1"/>
          <a:stretch>
            <a:fillRect/>
          </a:stretch>
        </p:blipFill>
        <p:spPr>
          <a:xfrm>
            <a:off x="7423149" y="4503907"/>
            <a:ext cx="1790700" cy="556297"/>
          </a:xfrm>
          <a:prstGeom prst="rect">
            <a:avLst/>
          </a:prstGeom>
        </p:spPr>
      </p:pic>
      <p:pic>
        <p:nvPicPr>
          <p:cNvPr id="1025" name="Picture 32">
            <a:extLst>
              <a:ext uri="{FF2B5EF4-FFF2-40B4-BE49-F238E27FC236}">
                <a16:creationId xmlns:a16="http://schemas.microsoft.com/office/drawing/2014/main" id="{2627A93A-C889-CA45-D64B-6E8ABB532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983" y="4445340"/>
            <a:ext cx="1371759" cy="70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1027" descr="A logo for a company&#10;&#10;AI-generated content may be incorrect.">
            <a:extLst>
              <a:ext uri="{FF2B5EF4-FFF2-40B4-BE49-F238E27FC236}">
                <a16:creationId xmlns:a16="http://schemas.microsoft.com/office/drawing/2014/main" id="{9C606770-E7C0-6E53-EF27-EFC54A4A3E8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14" y="5555020"/>
            <a:ext cx="1049206" cy="935188"/>
          </a:xfrm>
          <a:prstGeom prst="rect">
            <a:avLst/>
          </a:prstGeom>
        </p:spPr>
      </p:pic>
      <p:pic>
        <p:nvPicPr>
          <p:cNvPr id="1030" name="Picture 1029" descr="A black and white logo&#10;&#10;AI-generated content may be incorrect.">
            <a:extLst>
              <a:ext uri="{FF2B5EF4-FFF2-40B4-BE49-F238E27FC236}">
                <a16:creationId xmlns:a16="http://schemas.microsoft.com/office/drawing/2014/main" id="{5B83B5B6-B431-B3D6-E435-A3062ED1FB4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595" y="5809235"/>
            <a:ext cx="1682642" cy="426757"/>
          </a:xfrm>
          <a:prstGeom prst="rect">
            <a:avLst/>
          </a:prstGeom>
        </p:spPr>
      </p:pic>
      <p:pic>
        <p:nvPicPr>
          <p:cNvPr id="1033" name="Picture 1032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C6B1CBCA-567A-A9D1-20D4-28919D7023B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3" t="22118" r="10842" b="20782"/>
          <a:stretch>
            <a:fillRect/>
          </a:stretch>
        </p:blipFill>
        <p:spPr>
          <a:xfrm>
            <a:off x="4783332" y="5802884"/>
            <a:ext cx="1921715" cy="420407"/>
          </a:xfrm>
          <a:prstGeom prst="rect">
            <a:avLst/>
          </a:prstGeom>
        </p:spPr>
      </p:pic>
      <p:pic>
        <p:nvPicPr>
          <p:cNvPr id="1034" name="Picture 2" descr="Redgate Software Demonstrates the Future of Hybrid Working With New ...">
            <a:extLst>
              <a:ext uri="{FF2B5EF4-FFF2-40B4-BE49-F238E27FC236}">
                <a16:creationId xmlns:a16="http://schemas.microsoft.com/office/drawing/2014/main" id="{F152739A-D9BD-94FF-533C-8DEF21A36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68" b="24920"/>
          <a:stretch>
            <a:fillRect/>
          </a:stretch>
        </p:blipFill>
        <p:spPr bwMode="auto">
          <a:xfrm>
            <a:off x="7252019" y="5748619"/>
            <a:ext cx="2126798" cy="547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logo with a triangle and a person holding a hand&#10;&#10;AI-generated content may be incorrect.">
            <a:extLst>
              <a:ext uri="{FF2B5EF4-FFF2-40B4-BE49-F238E27FC236}">
                <a16:creationId xmlns:a16="http://schemas.microsoft.com/office/drawing/2014/main" id="{B7AE684E-1E09-1322-6554-A60B3A7C449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851" y="5444355"/>
            <a:ext cx="2305877" cy="1137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828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76A21A7-31FB-6C07-2494-67FB3546D764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8FFEBB8-4B82-FA2D-18F2-9BB43A92670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C7344B4D-ED77-202E-5DF2-993EF82BB952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AC632FF-E665-16D7-730B-49BAD1D8F2C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EE4CBC7-9232-EBFC-27E0-4CFA48214138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1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EEA936B-540F-F83A-686C-B6E380769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E51D36D-2ABB-2D67-E386-5D0BE9B499E8}"/>
              </a:ext>
            </a:extLst>
          </p:cNvPr>
          <p:cNvSpPr txBox="1"/>
          <p:nvPr/>
        </p:nvSpPr>
        <p:spPr>
          <a:xfrm>
            <a:off x="1074298" y="743293"/>
            <a:ext cx="38406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</a:p>
          <a:p>
            <a:r>
              <a:rPr lang="nl-BE" dirty="0">
                <a:latin typeface="Consolas" panose="020B0609020204030204" pitchFamily="49" charset="0"/>
              </a:rPr>
              <a:t>     </a:t>
            </a:r>
            <a:r>
              <a:rPr lang="nl-BE" dirty="0" err="1">
                <a:latin typeface="Consolas" panose="020B0609020204030204" pitchFamily="49" charset="0"/>
              </a:rPr>
              <a:t>SalesOrderID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dirty="0" err="1">
                <a:latin typeface="Consolas" panose="020B0609020204030204" pitchFamily="49" charset="0"/>
              </a:rPr>
              <a:t>OrderDate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dirty="0">
                <a:latin typeface="Consolas" panose="020B0609020204030204" pitchFamily="49" charset="0"/>
              </a:rPr>
              <a:t> </a:t>
            </a:r>
            <a:r>
              <a:rPr lang="nl-BE" dirty="0" err="1">
                <a:latin typeface="Consolas" panose="020B0609020204030204" pitchFamily="49" charset="0"/>
              </a:rPr>
              <a:t>Sales</a:t>
            </a:r>
            <a:r>
              <a:rPr lang="nl-BE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dirty="0" err="1">
                <a:latin typeface="Consolas" panose="020B0609020204030204" pitchFamily="49" charset="0"/>
              </a:rPr>
              <a:t>SalesOrderHeader</a:t>
            </a:r>
            <a:endParaRPr lang="nl-BE" dirty="0">
              <a:latin typeface="Consolas" panose="020B0609020204030204" pitchFamily="49" charset="0"/>
            </a:endParaRPr>
          </a:p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dirty="0">
                <a:latin typeface="Consolas" panose="020B0609020204030204" pitchFamily="49" charset="0"/>
              </a:rPr>
              <a:t> </a:t>
            </a:r>
            <a:r>
              <a:rPr lang="nl-BE" dirty="0" err="1">
                <a:latin typeface="Consolas" panose="020B0609020204030204" pitchFamily="49" charset="0"/>
              </a:rPr>
              <a:t>SalesOrderID</a:t>
            </a:r>
            <a:r>
              <a:rPr lang="nl-BE" dirty="0">
                <a:latin typeface="Consolas" panose="020B0609020204030204" pitchFamily="49" charset="0"/>
              </a:rPr>
              <a:t> = 68864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AC79A2-E460-1575-2787-E406755C4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4298" y="2511684"/>
            <a:ext cx="8101414" cy="36224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9BD9DC-C062-90E2-A2BF-EC16FC94C0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4899" y="3493743"/>
            <a:ext cx="6480000" cy="4883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47094F-BDA0-9ED1-EBC4-6D9F2AF3B8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4898" y="5490195"/>
            <a:ext cx="6480000" cy="45113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31262B1-D476-79BB-0101-8BD3F8335669}"/>
              </a:ext>
            </a:extLst>
          </p:cNvPr>
          <p:cNvSpPr/>
          <p:nvPr/>
        </p:nvSpPr>
        <p:spPr>
          <a:xfrm>
            <a:off x="8486775" y="3648075"/>
            <a:ext cx="1552575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0FD2DF-BC7A-2BA7-2CE9-F6BB27E62CCC}"/>
              </a:ext>
            </a:extLst>
          </p:cNvPr>
          <p:cNvSpPr/>
          <p:nvPr/>
        </p:nvSpPr>
        <p:spPr>
          <a:xfrm>
            <a:off x="8382000" y="5653253"/>
            <a:ext cx="1485900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F79DEBA-85C7-0FF2-31DC-8EE5A1D807CC}"/>
              </a:ext>
            </a:extLst>
          </p:cNvPr>
          <p:cNvCxnSpPr/>
          <p:nvPr/>
        </p:nvCxnSpPr>
        <p:spPr>
          <a:xfrm>
            <a:off x="9648825" y="4032539"/>
            <a:ext cx="0" cy="162071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6B676299-71B7-3783-B7A6-678FD18145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4099" y="4077045"/>
            <a:ext cx="1680336" cy="1446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63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9B20F31-CB2A-5984-51A4-E605E8AB7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8539D1F4-0C1E-08F7-2A63-3EB4686B7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298" y="2992909"/>
            <a:ext cx="7648337" cy="34942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B5FE6FB-F10A-5D3A-A970-661D16ABE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4298" y="3002979"/>
            <a:ext cx="7648337" cy="3494258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7A3D238-9FA8-3812-B571-3185CB7D4047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2F9862A-570B-B6AA-7D22-9E78EAD427B7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9F12D1E2-A3DC-BDF1-EC10-ECE95EE8B486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66B5356-9941-C4F6-420E-E76496645B5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1AB3BEC-9A7D-B146-4D4D-57F3F05FCEF4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2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72695C37-84BF-8DA5-FD3B-82CDFDFB6D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FFC14BD8-EBB5-F29D-CDCE-645839640DC2}"/>
              </a:ext>
            </a:extLst>
          </p:cNvPr>
          <p:cNvSpPr txBox="1"/>
          <p:nvPr/>
        </p:nvSpPr>
        <p:spPr>
          <a:xfrm>
            <a:off x="1074298" y="743293"/>
            <a:ext cx="47264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*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68864</a:t>
            </a: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90000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47F4A5-94E3-EE66-069B-8DCD94D0D2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2773" y="3911501"/>
            <a:ext cx="5700254" cy="50296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4F48393-1860-5A24-DADA-CB3F23CD499B}"/>
              </a:ext>
            </a:extLst>
          </p:cNvPr>
          <p:cNvSpPr/>
          <p:nvPr/>
        </p:nvSpPr>
        <p:spPr>
          <a:xfrm>
            <a:off x="8215255" y="4112939"/>
            <a:ext cx="1552575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32AE82F-DD86-50D1-3655-A7D128887DD1}"/>
              </a:ext>
            </a:extLst>
          </p:cNvPr>
          <p:cNvCxnSpPr>
            <a:cxnSpLocks/>
          </p:cNvCxnSpPr>
          <p:nvPr/>
        </p:nvCxnSpPr>
        <p:spPr>
          <a:xfrm>
            <a:off x="9248775" y="4497403"/>
            <a:ext cx="0" cy="118534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ABEC9B0A-8222-C97B-E799-83662960EB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2773" y="5671060"/>
            <a:ext cx="5448772" cy="3734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127D954-8086-85E9-A8AD-C4F208546A9B}"/>
              </a:ext>
            </a:extLst>
          </p:cNvPr>
          <p:cNvSpPr/>
          <p:nvPr/>
        </p:nvSpPr>
        <p:spPr>
          <a:xfrm>
            <a:off x="7894656" y="5682743"/>
            <a:ext cx="1485900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D1D3F7A-4E33-2AB7-4F1F-8957A601536B}"/>
              </a:ext>
            </a:extLst>
          </p:cNvPr>
          <p:cNvCxnSpPr>
            <a:cxnSpLocks/>
          </p:cNvCxnSpPr>
          <p:nvPr/>
        </p:nvCxnSpPr>
        <p:spPr>
          <a:xfrm flipH="1" flipV="1">
            <a:off x="2771775" y="3911501"/>
            <a:ext cx="590550" cy="50296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1F3CE2A-51B5-190B-72D3-D434AC082453}"/>
              </a:ext>
            </a:extLst>
          </p:cNvPr>
          <p:cNvSpPr txBox="1"/>
          <p:nvPr/>
        </p:nvSpPr>
        <p:spPr>
          <a:xfrm>
            <a:off x="2943225" y="4425593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whoops</a:t>
            </a:r>
            <a:endParaRPr lang="nl-BE" dirty="0">
              <a:solidFill>
                <a:srgbClr val="FF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9A7B24-5D0F-A1F6-701B-4D25F0A220A8}"/>
              </a:ext>
            </a:extLst>
          </p:cNvPr>
          <p:cNvSpPr/>
          <p:nvPr/>
        </p:nvSpPr>
        <p:spPr>
          <a:xfrm>
            <a:off x="3151205" y="4938523"/>
            <a:ext cx="3963969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597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  <p:bldP spid="28" grpId="0"/>
      <p:bldP spid="3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21CEE-B023-94AB-F4CE-D8665E8EF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a clustered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664037-4985-BC91-BA6E-CA4E5BA5A7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oesn’t have to be unique</a:t>
            </a:r>
          </a:p>
          <a:p>
            <a:r>
              <a:rPr lang="en-US" dirty="0"/>
              <a:t>limit the number of columns</a:t>
            </a:r>
          </a:p>
          <a:p>
            <a:pPr lvl="1"/>
            <a:r>
              <a:rPr lang="en-US" dirty="0"/>
              <a:t>preferably small data types</a:t>
            </a:r>
          </a:p>
          <a:p>
            <a:pPr lvl="1"/>
            <a:r>
              <a:rPr lang="en-US" dirty="0"/>
              <a:t>preferably unique and NOT NULL</a:t>
            </a:r>
          </a:p>
          <a:p>
            <a:pPr lvl="1"/>
            <a:r>
              <a:rPr lang="en-US" dirty="0"/>
              <a:t>preferably high cardinality</a:t>
            </a:r>
          </a:p>
          <a:p>
            <a:pPr lvl="1"/>
            <a:r>
              <a:rPr lang="en-US" dirty="0"/>
              <a:t>columns ordered from</a:t>
            </a:r>
            <a:br>
              <a:rPr lang="en-US" dirty="0"/>
            </a:br>
            <a:r>
              <a:rPr lang="en-US" dirty="0"/>
              <a:t>the most distinct to the least</a:t>
            </a:r>
          </a:p>
          <a:p>
            <a:pPr lvl="1"/>
            <a:endParaRPr lang="en-US" dirty="0"/>
          </a:p>
          <a:p>
            <a:r>
              <a:rPr lang="en-US" dirty="0"/>
              <a:t>OLTP</a:t>
            </a:r>
          </a:p>
          <a:p>
            <a:pPr lvl="1"/>
            <a:r>
              <a:rPr lang="en-US" dirty="0"/>
              <a:t>typically the PK</a:t>
            </a:r>
          </a:p>
          <a:p>
            <a:r>
              <a:rPr lang="nl-BE" dirty="0"/>
              <a:t>OLAP</a:t>
            </a:r>
          </a:p>
          <a:p>
            <a:pPr lvl="1"/>
            <a:r>
              <a:rPr lang="en-US" noProof="0" dirty="0"/>
              <a:t>surrogate key in dimensions</a:t>
            </a:r>
          </a:p>
          <a:p>
            <a:pPr lvl="1"/>
            <a:r>
              <a:rPr lang="nl-BE" dirty="0" err="1"/>
              <a:t>fact</a:t>
            </a:r>
            <a:r>
              <a:rPr lang="nl-BE" dirty="0"/>
              <a:t> </a:t>
            </a:r>
            <a:r>
              <a:rPr lang="nl-BE" dirty="0" err="1"/>
              <a:t>table</a:t>
            </a:r>
            <a:r>
              <a:rPr lang="nl-BE" dirty="0"/>
              <a:t>: </a:t>
            </a:r>
            <a:r>
              <a:rPr lang="nl-BE" dirty="0" err="1"/>
              <a:t>it</a:t>
            </a:r>
            <a:r>
              <a:rPr lang="nl-BE" dirty="0"/>
              <a:t> </a:t>
            </a:r>
            <a:r>
              <a:rPr lang="nl-BE" dirty="0" err="1"/>
              <a:t>depends</a:t>
            </a:r>
            <a:endParaRPr lang="nl-BE" dirty="0"/>
          </a:p>
          <a:p>
            <a:pPr lvl="1"/>
            <a:endParaRPr lang="nl-BE" dirty="0"/>
          </a:p>
          <a:p>
            <a:r>
              <a:rPr lang="nl-BE" dirty="0" err="1"/>
              <a:t>apply</a:t>
            </a:r>
            <a:r>
              <a:rPr lang="nl-BE" dirty="0"/>
              <a:t> (page) </a:t>
            </a:r>
            <a:r>
              <a:rPr lang="nl-BE" dirty="0" err="1"/>
              <a:t>compression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save </a:t>
            </a:r>
            <a:r>
              <a:rPr lang="nl-BE" dirty="0" err="1"/>
              <a:t>space</a:t>
            </a:r>
            <a:endParaRPr lang="nl-BE" dirty="0"/>
          </a:p>
        </p:txBody>
      </p:sp>
      <p:pic>
        <p:nvPicPr>
          <p:cNvPr id="2050" name="Picture 2" descr="CAN There Be Only One? – CoinRoutes Blog">
            <a:extLst>
              <a:ext uri="{FF2B5EF4-FFF2-40B4-BE49-F238E27FC236}">
                <a16:creationId xmlns:a16="http://schemas.microsoft.com/office/drawing/2014/main" id="{5677551F-C0C8-C9FA-9384-BC306F1F5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525" y="1457011"/>
            <a:ext cx="5181600" cy="307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495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4A509F-B6E8-4D3B-F8C0-78956345AE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F96FDD0-9A72-3114-C820-0DF1A8EF5D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Nonclustered</a:t>
            </a:r>
            <a:r>
              <a:rPr lang="en-US" dirty="0">
                <a:solidFill>
                  <a:schemeClr val="bg1"/>
                </a:solidFill>
              </a:rPr>
              <a:t> Index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84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Blog - What is a book Index?">
            <a:extLst>
              <a:ext uri="{FF2B5EF4-FFF2-40B4-BE49-F238E27FC236}">
                <a16:creationId xmlns:a16="http://schemas.microsoft.com/office/drawing/2014/main" id="{696777B4-047F-77B9-F02A-B660BAF6A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839" y="1064385"/>
            <a:ext cx="6910321" cy="503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11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F9B42-0A96-A783-E6DF-F1B41531D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A9140-2F16-06D4-BA4A-EE0EAB4CBC11}"/>
              </a:ext>
            </a:extLst>
          </p:cNvPr>
          <p:cNvSpPr/>
          <p:nvPr/>
        </p:nvSpPr>
        <p:spPr>
          <a:xfrm>
            <a:off x="5034455" y="851338"/>
            <a:ext cx="1776248" cy="788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</a:t>
            </a:r>
            <a:endParaRPr lang="nl-B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506B1D-ED83-04F7-8E6D-6DA4DF59F666}"/>
              </a:ext>
            </a:extLst>
          </p:cNvPr>
          <p:cNvSpPr/>
          <p:nvPr/>
        </p:nvSpPr>
        <p:spPr>
          <a:xfrm>
            <a:off x="8098204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</a:t>
            </a:r>
            <a:endParaRPr lang="nl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0ECB67-3B94-1D88-14A7-49897C9C98C4}"/>
              </a:ext>
            </a:extLst>
          </p:cNvPr>
          <p:cNvSpPr/>
          <p:nvPr/>
        </p:nvSpPr>
        <p:spPr>
          <a:xfrm>
            <a:off x="2151988" y="2091559"/>
            <a:ext cx="1776248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nl-B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A577C58-D1C7-F84F-34D4-186198F6D039}"/>
              </a:ext>
            </a:extLst>
          </p:cNvPr>
          <p:cNvSpPr/>
          <p:nvPr/>
        </p:nvSpPr>
        <p:spPr>
          <a:xfrm>
            <a:off x="1037891" y="3234555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  <a:endParaRPr lang="nl-B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FDAF39-58BC-6E54-B1B1-103D83B2E9D0}"/>
              </a:ext>
            </a:extLst>
          </p:cNvPr>
          <p:cNvSpPr/>
          <p:nvPr/>
        </p:nvSpPr>
        <p:spPr>
          <a:xfrm>
            <a:off x="3928236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nl-B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E2DB28-D37A-E80D-139E-46D801ABE9A0}"/>
              </a:ext>
            </a:extLst>
          </p:cNvPr>
          <p:cNvSpPr/>
          <p:nvPr/>
        </p:nvSpPr>
        <p:spPr>
          <a:xfrm>
            <a:off x="6984107" y="3234554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  <a:endParaRPr lang="nl-B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0E8810-CF2D-FE1E-655C-59D1D223C7D7}"/>
              </a:ext>
            </a:extLst>
          </p:cNvPr>
          <p:cNvSpPr/>
          <p:nvPr/>
        </p:nvSpPr>
        <p:spPr>
          <a:xfrm>
            <a:off x="9874452" y="3234556"/>
            <a:ext cx="1114097" cy="578069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endParaRPr lang="nl-BE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B2E7F8-4725-C46C-E8C0-6F892FAF7D54}"/>
              </a:ext>
            </a:extLst>
          </p:cNvPr>
          <p:cNvCxnSpPr/>
          <p:nvPr/>
        </p:nvCxnSpPr>
        <p:spPr>
          <a:xfrm flipH="1">
            <a:off x="3928236" y="1639613"/>
            <a:ext cx="1106219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75FF628-5FD6-7738-9473-531E927947C9}"/>
              </a:ext>
            </a:extLst>
          </p:cNvPr>
          <p:cNvCxnSpPr>
            <a:cxnSpLocks/>
          </p:cNvCxnSpPr>
          <p:nvPr/>
        </p:nvCxnSpPr>
        <p:spPr>
          <a:xfrm>
            <a:off x="6810703" y="1639613"/>
            <a:ext cx="1287501" cy="451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30A188F-A299-29E0-107E-830B0A470103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1594940" y="2669628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2CC684F-9E07-C652-BB59-3019D6935792}"/>
              </a:ext>
            </a:extLst>
          </p:cNvPr>
          <p:cNvCxnSpPr>
            <a:cxnSpLocks/>
          </p:cNvCxnSpPr>
          <p:nvPr/>
        </p:nvCxnSpPr>
        <p:spPr>
          <a:xfrm flipH="1">
            <a:off x="7541155" y="2669627"/>
            <a:ext cx="557048" cy="56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11FE27A-0167-0D1B-A080-38216C5D5BB8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3928235" y="2669627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50A78B7-65E9-4978-E001-BADF2B01AA93}"/>
              </a:ext>
            </a:extLst>
          </p:cNvPr>
          <p:cNvCxnSpPr>
            <a:cxnSpLocks/>
          </p:cNvCxnSpPr>
          <p:nvPr/>
        </p:nvCxnSpPr>
        <p:spPr>
          <a:xfrm>
            <a:off x="9874450" y="2669628"/>
            <a:ext cx="557050" cy="564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F58CBD0-3E9F-F1AA-B39F-7CE783C990BB}"/>
              </a:ext>
            </a:extLst>
          </p:cNvPr>
          <p:cNvCxnSpPr>
            <a:cxnSpLocks/>
          </p:cNvCxnSpPr>
          <p:nvPr/>
        </p:nvCxnSpPr>
        <p:spPr>
          <a:xfrm flipH="1">
            <a:off x="633236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84CDED3-E27E-79DD-0C13-F09BD77E951B}"/>
              </a:ext>
            </a:extLst>
          </p:cNvPr>
          <p:cNvCxnSpPr>
            <a:cxnSpLocks/>
          </p:cNvCxnSpPr>
          <p:nvPr/>
        </p:nvCxnSpPr>
        <p:spPr>
          <a:xfrm flipH="1">
            <a:off x="3523581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A5E233-39E3-7464-72B8-B012982795D5}"/>
              </a:ext>
            </a:extLst>
          </p:cNvPr>
          <p:cNvCxnSpPr>
            <a:cxnSpLocks/>
          </p:cNvCxnSpPr>
          <p:nvPr/>
        </p:nvCxnSpPr>
        <p:spPr>
          <a:xfrm flipH="1">
            <a:off x="6579452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1515431-3114-72A9-B892-A27D49CBB9AA}"/>
              </a:ext>
            </a:extLst>
          </p:cNvPr>
          <p:cNvCxnSpPr>
            <a:cxnSpLocks/>
          </p:cNvCxnSpPr>
          <p:nvPr/>
        </p:nvCxnSpPr>
        <p:spPr>
          <a:xfrm flipH="1">
            <a:off x="9482929" y="3817217"/>
            <a:ext cx="404655" cy="5872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0956AAB-C21B-7AE5-AD6A-5E35EE619547}"/>
              </a:ext>
            </a:extLst>
          </p:cNvPr>
          <p:cNvCxnSpPr>
            <a:cxnSpLocks/>
          </p:cNvCxnSpPr>
          <p:nvPr/>
        </p:nvCxnSpPr>
        <p:spPr>
          <a:xfrm>
            <a:off x="215198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7C03A73-BF08-3BB9-82C6-25833FD2839F}"/>
              </a:ext>
            </a:extLst>
          </p:cNvPr>
          <p:cNvCxnSpPr>
            <a:cxnSpLocks/>
          </p:cNvCxnSpPr>
          <p:nvPr/>
        </p:nvCxnSpPr>
        <p:spPr>
          <a:xfrm>
            <a:off x="5058098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67A62E8-593C-7EA5-681C-E1E774ED0F32}"/>
              </a:ext>
            </a:extLst>
          </p:cNvPr>
          <p:cNvCxnSpPr>
            <a:cxnSpLocks/>
          </p:cNvCxnSpPr>
          <p:nvPr/>
        </p:nvCxnSpPr>
        <p:spPr>
          <a:xfrm>
            <a:off x="810343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03BDA8F-EE2E-5F45-F1A5-8A3710B8AAA5}"/>
              </a:ext>
            </a:extLst>
          </p:cNvPr>
          <p:cNvCxnSpPr>
            <a:cxnSpLocks/>
          </p:cNvCxnSpPr>
          <p:nvPr/>
        </p:nvCxnSpPr>
        <p:spPr>
          <a:xfrm>
            <a:off x="10975417" y="3821811"/>
            <a:ext cx="404656" cy="5780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3E5381E-4D8D-F05A-13FA-4B30A9B9EE69}"/>
              </a:ext>
            </a:extLst>
          </p:cNvPr>
          <p:cNvCxnSpPr>
            <a:cxnSpLocks/>
            <a:stCxn id="6" idx="3"/>
            <a:endCxn id="3" idx="1"/>
          </p:cNvCxnSpPr>
          <p:nvPr/>
        </p:nvCxnSpPr>
        <p:spPr>
          <a:xfrm>
            <a:off x="3928236" y="2380594"/>
            <a:ext cx="4169968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A2A16D9-54B4-B99D-F889-446260287CF1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151988" y="352359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5D4F946-5B0B-3667-4281-02461EA1EEDE}"/>
              </a:ext>
            </a:extLst>
          </p:cNvPr>
          <p:cNvCxnSpPr>
            <a:cxnSpLocks/>
          </p:cNvCxnSpPr>
          <p:nvPr/>
        </p:nvCxnSpPr>
        <p:spPr>
          <a:xfrm>
            <a:off x="8103437" y="3502560"/>
            <a:ext cx="1776248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2191831-61DC-7A2D-2729-802E63D8BDD9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5058098" y="3521689"/>
            <a:ext cx="1926009" cy="190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A555490-2F78-B7D7-3136-6891A696249D}"/>
              </a:ext>
            </a:extLst>
          </p:cNvPr>
          <p:cNvCxnSpPr>
            <a:cxnSpLocks/>
          </p:cNvCxnSpPr>
          <p:nvPr/>
        </p:nvCxnSpPr>
        <p:spPr>
          <a:xfrm>
            <a:off x="1037891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70F4C06-59B8-2C7A-2116-2AA9FBDBE074}"/>
              </a:ext>
            </a:extLst>
          </p:cNvPr>
          <p:cNvCxnSpPr>
            <a:cxnSpLocks/>
          </p:cNvCxnSpPr>
          <p:nvPr/>
        </p:nvCxnSpPr>
        <p:spPr>
          <a:xfrm>
            <a:off x="3933115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6203DFA-6050-1693-400C-7484E2002F70}"/>
              </a:ext>
            </a:extLst>
          </p:cNvPr>
          <p:cNvCxnSpPr>
            <a:cxnSpLocks/>
          </p:cNvCxnSpPr>
          <p:nvPr/>
        </p:nvCxnSpPr>
        <p:spPr>
          <a:xfrm>
            <a:off x="6989340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1B47263-46CC-C31F-6380-8550DCE0A8AA}"/>
              </a:ext>
            </a:extLst>
          </p:cNvPr>
          <p:cNvCxnSpPr>
            <a:cxnSpLocks/>
          </p:cNvCxnSpPr>
          <p:nvPr/>
        </p:nvCxnSpPr>
        <p:spPr>
          <a:xfrm>
            <a:off x="9887584" y="4598266"/>
            <a:ext cx="1114097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57344A9-6DB9-5761-B399-AB706D377E42}"/>
              </a:ext>
            </a:extLst>
          </p:cNvPr>
          <p:cNvCxnSpPr>
            <a:cxnSpLocks/>
          </p:cNvCxnSpPr>
          <p:nvPr/>
        </p:nvCxnSpPr>
        <p:spPr>
          <a:xfrm>
            <a:off x="2961299" y="4598266"/>
            <a:ext cx="15762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5FC8F9F-B487-761F-6418-BE0E0A215CB3}"/>
              </a:ext>
            </a:extLst>
          </p:cNvPr>
          <p:cNvCxnSpPr>
            <a:cxnSpLocks/>
          </p:cNvCxnSpPr>
          <p:nvPr/>
        </p:nvCxnSpPr>
        <p:spPr>
          <a:xfrm>
            <a:off x="5843766" y="4598266"/>
            <a:ext cx="33103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6E5B05E-638C-4396-6867-A014B5191077}"/>
              </a:ext>
            </a:extLst>
          </p:cNvPr>
          <p:cNvCxnSpPr>
            <a:cxnSpLocks/>
          </p:cNvCxnSpPr>
          <p:nvPr/>
        </p:nvCxnSpPr>
        <p:spPr>
          <a:xfrm>
            <a:off x="8889107" y="4598266"/>
            <a:ext cx="176034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C9300E6-CC12-89F5-64DF-62B243D45BB6}"/>
              </a:ext>
            </a:extLst>
          </p:cNvPr>
          <p:cNvCxnSpPr>
            <a:cxnSpLocks/>
          </p:cNvCxnSpPr>
          <p:nvPr/>
        </p:nvCxnSpPr>
        <p:spPr>
          <a:xfrm>
            <a:off x="63323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177969A-5ADF-E9EE-1729-0530E4F088D5}"/>
              </a:ext>
            </a:extLst>
          </p:cNvPr>
          <p:cNvCxnSpPr>
            <a:cxnSpLocks/>
          </p:cNvCxnSpPr>
          <p:nvPr/>
        </p:nvCxnSpPr>
        <p:spPr>
          <a:xfrm>
            <a:off x="2556644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FAB251A-73D1-C84B-D588-76CA43103DAF}"/>
              </a:ext>
            </a:extLst>
          </p:cNvPr>
          <p:cNvCxnSpPr>
            <a:cxnSpLocks/>
          </p:cNvCxnSpPr>
          <p:nvPr/>
        </p:nvCxnSpPr>
        <p:spPr>
          <a:xfrm>
            <a:off x="3518000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E08B96C-0C45-9218-E042-FD8E40F633CE}"/>
              </a:ext>
            </a:extLst>
          </p:cNvPr>
          <p:cNvCxnSpPr>
            <a:cxnSpLocks/>
          </p:cNvCxnSpPr>
          <p:nvPr/>
        </p:nvCxnSpPr>
        <p:spPr>
          <a:xfrm>
            <a:off x="546126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DA0F663-361B-13B2-A8AE-B374C122F441}"/>
              </a:ext>
            </a:extLst>
          </p:cNvPr>
          <p:cNvCxnSpPr>
            <a:cxnSpLocks/>
          </p:cNvCxnSpPr>
          <p:nvPr/>
        </p:nvCxnSpPr>
        <p:spPr>
          <a:xfrm>
            <a:off x="6579452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C9229C0-2D29-06ED-84EE-4A2F0526DD6F}"/>
              </a:ext>
            </a:extLst>
          </p:cNvPr>
          <p:cNvCxnSpPr>
            <a:cxnSpLocks/>
          </p:cNvCxnSpPr>
          <p:nvPr/>
        </p:nvCxnSpPr>
        <p:spPr>
          <a:xfrm>
            <a:off x="8509531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F22DAC3-BAEC-242E-2571-67DB7DDFAD75}"/>
              </a:ext>
            </a:extLst>
          </p:cNvPr>
          <p:cNvCxnSpPr>
            <a:cxnSpLocks/>
          </p:cNvCxnSpPr>
          <p:nvPr/>
        </p:nvCxnSpPr>
        <p:spPr>
          <a:xfrm>
            <a:off x="9478376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B3A2257-141B-EBAB-FA23-9BB4BAC77D04}"/>
              </a:ext>
            </a:extLst>
          </p:cNvPr>
          <p:cNvCxnSpPr>
            <a:cxnSpLocks/>
          </p:cNvCxnSpPr>
          <p:nvPr/>
        </p:nvCxnSpPr>
        <p:spPr>
          <a:xfrm>
            <a:off x="11380073" y="4796650"/>
            <a:ext cx="0" cy="2711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BA17D624-4546-20CD-A842-EDCD28A54FDD}"/>
              </a:ext>
            </a:extLst>
          </p:cNvPr>
          <p:cNvSpPr/>
          <p:nvPr/>
        </p:nvSpPr>
        <p:spPr>
          <a:xfrm>
            <a:off x="311892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</a:t>
            </a:r>
            <a:endParaRPr lang="nl-BE" sz="20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4C3E524-6C1E-4C52-E935-BACD000776B3}"/>
              </a:ext>
            </a:extLst>
          </p:cNvPr>
          <p:cNvSpPr/>
          <p:nvPr/>
        </p:nvSpPr>
        <p:spPr>
          <a:xfrm>
            <a:off x="228580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</a:t>
            </a:r>
            <a:endParaRPr lang="nl-BE" sz="20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2CD691A-AF26-FFAA-5406-36B66C89AAE9}"/>
              </a:ext>
            </a:extLst>
          </p:cNvPr>
          <p:cNvSpPr/>
          <p:nvPr/>
        </p:nvSpPr>
        <p:spPr>
          <a:xfrm>
            <a:off x="2151988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</a:t>
            </a:r>
            <a:endParaRPr lang="nl-BE" sz="20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64A7C7D-F83E-3951-BD97-45C1C2812A56}"/>
              </a:ext>
            </a:extLst>
          </p:cNvPr>
          <p:cNvSpPr/>
          <p:nvPr/>
        </p:nvSpPr>
        <p:spPr>
          <a:xfrm>
            <a:off x="5034455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</a:t>
            </a:r>
            <a:endParaRPr lang="nl-BE" sz="20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E780CFD-B4BB-E2E1-2FCC-37509C57CCF9}"/>
              </a:ext>
            </a:extLst>
          </p:cNvPr>
          <p:cNvSpPr/>
          <p:nvPr/>
        </p:nvSpPr>
        <p:spPr>
          <a:xfrm>
            <a:off x="6174796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E</a:t>
            </a:r>
            <a:endParaRPr lang="nl-BE" sz="20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DA09C96-DFEB-A327-09A2-7272FE4F355C}"/>
              </a:ext>
            </a:extLst>
          </p:cNvPr>
          <p:cNvSpPr/>
          <p:nvPr/>
        </p:nvSpPr>
        <p:spPr>
          <a:xfrm>
            <a:off x="8098204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</a:t>
            </a:r>
            <a:endParaRPr lang="nl-BE" sz="20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EA9C203-F782-2B3B-C202-1B6230BCC06C}"/>
              </a:ext>
            </a:extLst>
          </p:cNvPr>
          <p:cNvSpPr/>
          <p:nvPr/>
        </p:nvSpPr>
        <p:spPr>
          <a:xfrm>
            <a:off x="9065141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G</a:t>
            </a:r>
            <a:endParaRPr lang="nl-BE" sz="20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B837ED-549E-E4BE-D859-0FA78A30CA33}"/>
              </a:ext>
            </a:extLst>
          </p:cNvPr>
          <p:cNvSpPr/>
          <p:nvPr/>
        </p:nvSpPr>
        <p:spPr>
          <a:xfrm>
            <a:off x="10988549" y="4399881"/>
            <a:ext cx="809311" cy="396769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</a:t>
            </a:r>
            <a:endParaRPr lang="nl-BE" sz="20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B42221C-96F0-6B3E-16AB-DD5A90575460}"/>
              </a:ext>
            </a:extLst>
          </p:cNvPr>
          <p:cNvSpPr/>
          <p:nvPr/>
        </p:nvSpPr>
        <p:spPr>
          <a:xfrm>
            <a:off x="228580" y="5067758"/>
            <a:ext cx="11569280" cy="3115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able Data / Clustered Index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3B638A8-DB33-D0A8-819B-85A8252EBD86}"/>
              </a:ext>
            </a:extLst>
          </p:cNvPr>
          <p:cNvSpPr/>
          <p:nvPr/>
        </p:nvSpPr>
        <p:spPr>
          <a:xfrm>
            <a:off x="22857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0DF2AAE-202D-5A9B-8140-41AD24970995}"/>
              </a:ext>
            </a:extLst>
          </p:cNvPr>
          <p:cNvSpPr/>
          <p:nvPr/>
        </p:nvSpPr>
        <p:spPr>
          <a:xfrm>
            <a:off x="2151987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CEE520-D42C-4F67-7CB6-01D506DBA407}"/>
              </a:ext>
            </a:extLst>
          </p:cNvPr>
          <p:cNvSpPr/>
          <p:nvPr/>
        </p:nvSpPr>
        <p:spPr>
          <a:xfrm>
            <a:off x="312380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02E36CE-13E9-B54A-490D-CF875C0EC325}"/>
              </a:ext>
            </a:extLst>
          </p:cNvPr>
          <p:cNvSpPr/>
          <p:nvPr/>
        </p:nvSpPr>
        <p:spPr>
          <a:xfrm>
            <a:off x="5034454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468A985-8B60-F640-5EEA-E6F3A135963F}"/>
              </a:ext>
            </a:extLst>
          </p:cNvPr>
          <p:cNvSpPr/>
          <p:nvPr/>
        </p:nvSpPr>
        <p:spPr>
          <a:xfrm>
            <a:off x="618002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154612D-DBB5-7532-6E02-E848859FE377}"/>
              </a:ext>
            </a:extLst>
          </p:cNvPr>
          <p:cNvSpPr/>
          <p:nvPr/>
        </p:nvSpPr>
        <p:spPr>
          <a:xfrm>
            <a:off x="807904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92CCACC-85A6-596B-F203-FC38EC6762D6}"/>
              </a:ext>
            </a:extLst>
          </p:cNvPr>
          <p:cNvSpPr/>
          <p:nvPr/>
        </p:nvSpPr>
        <p:spPr>
          <a:xfrm>
            <a:off x="9065139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86199B6-D39A-FC30-AEEB-1D30C856BC09}"/>
              </a:ext>
            </a:extLst>
          </p:cNvPr>
          <p:cNvSpPr/>
          <p:nvPr/>
        </p:nvSpPr>
        <p:spPr>
          <a:xfrm>
            <a:off x="10988548" y="5390331"/>
            <a:ext cx="809311" cy="66787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ata Page</a:t>
            </a:r>
            <a:endParaRPr lang="nl-BE" sz="20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9087E86-894A-96B7-C1FC-DF71E0A0E30A}"/>
              </a:ext>
            </a:extLst>
          </p:cNvPr>
          <p:cNvSpPr/>
          <p:nvPr/>
        </p:nvSpPr>
        <p:spPr>
          <a:xfrm>
            <a:off x="46979" y="720306"/>
            <a:ext cx="11948794" cy="4217454"/>
          </a:xfrm>
          <a:prstGeom prst="rect">
            <a:avLst/>
          </a:prstGeom>
          <a:noFill/>
          <a:ln w="381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428A206-8B97-14F7-29A6-7B44119A45D0}"/>
              </a:ext>
            </a:extLst>
          </p:cNvPr>
          <p:cNvSpPr txBox="1"/>
          <p:nvPr/>
        </p:nvSpPr>
        <p:spPr>
          <a:xfrm>
            <a:off x="835562" y="720306"/>
            <a:ext cx="29113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non-clustered index</a:t>
            </a:r>
            <a:endParaRPr lang="nl-BE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9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6C8EB2-89E0-CFF1-388C-E8851DF093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4ECDD-FED6-EFDC-CFC3-540AACB81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synta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ED0F3B-6D1B-2411-2A08-B6B1F45DD9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BE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]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NCI_myindex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…)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 = PAG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)]</a:t>
            </a:r>
            <a:r>
              <a:rPr lang="nl-BE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>
              <a:solidFill>
                <a:srgbClr val="00206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45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55DDB-CDBD-84FC-53B7-2D4EBFD09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a </a:t>
            </a:r>
            <a:r>
              <a:rPr lang="en-US" dirty="0" err="1"/>
              <a:t>nonclustered</a:t>
            </a:r>
            <a:r>
              <a:rPr lang="en-US" dirty="0"/>
              <a:t>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09080-EE32-D45F-7338-760D72E8E7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28067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oesn’t have to be unique</a:t>
            </a:r>
          </a:p>
          <a:p>
            <a:r>
              <a:rPr lang="en-US" dirty="0"/>
              <a:t>you can have </a:t>
            </a:r>
            <a:r>
              <a:rPr lang="en-US" b="1" dirty="0"/>
              <a:t>many different </a:t>
            </a:r>
            <a:r>
              <a:rPr lang="en-US" b="1" dirty="0" err="1"/>
              <a:t>nonclustered</a:t>
            </a:r>
            <a:r>
              <a:rPr lang="en-US" b="1" dirty="0"/>
              <a:t> indexes (NCI) on the same table</a:t>
            </a:r>
          </a:p>
          <a:p>
            <a:r>
              <a:rPr lang="en-US" dirty="0"/>
              <a:t>limit the number of columns</a:t>
            </a:r>
          </a:p>
          <a:p>
            <a:pPr lvl="1"/>
            <a:r>
              <a:rPr lang="en-US" dirty="0"/>
              <a:t>preferably small data types</a:t>
            </a:r>
          </a:p>
          <a:p>
            <a:pPr lvl="1"/>
            <a:r>
              <a:rPr lang="en-US" dirty="0"/>
              <a:t>preferably unique and NOT NULL</a:t>
            </a:r>
          </a:p>
          <a:p>
            <a:pPr lvl="1"/>
            <a:r>
              <a:rPr lang="en-US" dirty="0"/>
              <a:t>preferably high cardinality</a:t>
            </a:r>
          </a:p>
          <a:p>
            <a:pPr lvl="1"/>
            <a:r>
              <a:rPr lang="en-US" dirty="0"/>
              <a:t>columns ordered from</a:t>
            </a:r>
            <a:br>
              <a:rPr lang="en-US" dirty="0"/>
            </a:br>
            <a:r>
              <a:rPr lang="en-US" dirty="0"/>
              <a:t>the most distinct to the least</a:t>
            </a:r>
          </a:p>
          <a:p>
            <a:pPr lvl="1"/>
            <a:endParaRPr lang="en-US" dirty="0"/>
          </a:p>
          <a:p>
            <a:r>
              <a:rPr lang="en-US" dirty="0"/>
              <a:t>OLTP: foreign keys + uniqueness + any performance tuning</a:t>
            </a:r>
          </a:p>
          <a:p>
            <a:r>
              <a:rPr lang="en-US" dirty="0"/>
              <a:t>OLAP: uniqueness (business key in dim) + any performance tuning</a:t>
            </a:r>
          </a:p>
          <a:p>
            <a:endParaRPr lang="nl-BE" dirty="0"/>
          </a:p>
          <a:p>
            <a:r>
              <a:rPr lang="nl-BE" dirty="0" err="1"/>
              <a:t>try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make </a:t>
            </a:r>
            <a:r>
              <a:rPr lang="nl-BE" dirty="0" err="1"/>
              <a:t>the</a:t>
            </a:r>
            <a:r>
              <a:rPr lang="nl-BE" dirty="0"/>
              <a:t> index </a:t>
            </a:r>
            <a:r>
              <a:rPr lang="nl-BE" b="1" dirty="0" err="1"/>
              <a:t>covering</a:t>
            </a:r>
            <a:endParaRPr lang="nl-BE" b="1" dirty="0"/>
          </a:p>
          <a:p>
            <a:r>
              <a:rPr lang="nl-BE" dirty="0" err="1"/>
              <a:t>if</a:t>
            </a:r>
            <a:r>
              <a:rPr lang="nl-BE" dirty="0"/>
              <a:t> </a:t>
            </a:r>
            <a:r>
              <a:rPr lang="nl-BE" dirty="0" err="1"/>
              <a:t>clustered</a:t>
            </a:r>
            <a:r>
              <a:rPr lang="nl-BE" dirty="0"/>
              <a:t> index present, </a:t>
            </a:r>
            <a:r>
              <a:rPr lang="nl-BE" dirty="0" err="1"/>
              <a:t>its</a:t>
            </a:r>
            <a:r>
              <a:rPr lang="nl-BE" dirty="0"/>
              <a:t> </a:t>
            </a:r>
            <a:r>
              <a:rPr lang="nl-BE" dirty="0" err="1"/>
              <a:t>keys</a:t>
            </a:r>
            <a:r>
              <a:rPr lang="nl-BE" dirty="0"/>
              <a:t> are </a:t>
            </a:r>
            <a:r>
              <a:rPr lang="nl-BE" dirty="0" err="1"/>
              <a:t>included</a:t>
            </a:r>
            <a:r>
              <a:rPr lang="nl-BE" dirty="0"/>
              <a:t> in </a:t>
            </a:r>
            <a:r>
              <a:rPr lang="nl-BE" dirty="0" err="1"/>
              <a:t>the</a:t>
            </a:r>
            <a:r>
              <a:rPr lang="nl-BE" dirty="0"/>
              <a:t> NCI</a:t>
            </a:r>
          </a:p>
        </p:txBody>
      </p:sp>
    </p:spTree>
    <p:extLst>
      <p:ext uri="{BB962C8B-B14F-4D97-AF65-F5344CB8AC3E}">
        <p14:creationId xmlns:p14="http://schemas.microsoft.com/office/powerpoint/2010/main" val="410436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51A8E-5CF9-B96A-BCAB-BB77661C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overing index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E40A4-53AE-334A-FD7B-8360D640E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LastName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 FirstName</a:t>
            </a:r>
            <a:r>
              <a:rPr lang="en-US" sz="2000" dirty="0">
                <a:solidFill>
                  <a:srgbClr val="808080"/>
                </a:solidFill>
                <a:latin typeface="Consolas" panose="020B0609020204030204" pitchFamily="49" charset="0"/>
              </a:rPr>
              <a:t>, </a:t>
            </a:r>
            <a: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  <a:t>Title</a:t>
            </a:r>
            <a:br>
              <a:rPr lang="en-US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LIK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V%'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D8CA0-8700-26ED-DD6D-3B73F17BC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5541" y="2892140"/>
            <a:ext cx="8945357" cy="336012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43935E-C078-9887-8704-48E2BBE01181}"/>
              </a:ext>
            </a:extLst>
          </p:cNvPr>
          <p:cNvSpPr/>
          <p:nvPr/>
        </p:nvSpPr>
        <p:spPr>
          <a:xfrm>
            <a:off x="3889375" y="4731807"/>
            <a:ext cx="2502949" cy="13811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FEB8289-6491-A343-512F-2975CA1D04A2}"/>
              </a:ext>
            </a:extLst>
          </p:cNvPr>
          <p:cNvCxnSpPr>
            <a:cxnSpLocks/>
          </p:cNvCxnSpPr>
          <p:nvPr/>
        </p:nvCxnSpPr>
        <p:spPr>
          <a:xfrm flipH="1">
            <a:off x="6392324" y="4487333"/>
            <a:ext cx="939809" cy="67733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E5594B4-21E8-F785-B37E-57709BD80A17}"/>
              </a:ext>
            </a:extLst>
          </p:cNvPr>
          <p:cNvSpPr txBox="1"/>
          <p:nvPr/>
        </p:nvSpPr>
        <p:spPr>
          <a:xfrm>
            <a:off x="7065432" y="4025668"/>
            <a:ext cx="1841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t good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52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F587C-C800-7B59-07C8-FCA4CC5A9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D626A-39AD-17FE-8C5E-166EB06FD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LUDE columns to the rescue!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F1EAE4-E198-194A-16DF-4EF9F66834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l-BE" sz="20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IX_Person_LastName_Covering</a:t>
            </a:r>
            <a:b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b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INCLUD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Titl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E8609A-D247-3AF4-9E23-ED7B300A7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3690565"/>
            <a:ext cx="9188415" cy="173656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424419B-D6C7-A437-F4AC-1DA28056099C}"/>
              </a:ext>
            </a:extLst>
          </p:cNvPr>
          <p:cNvSpPr/>
          <p:nvPr/>
        </p:nvSpPr>
        <p:spPr>
          <a:xfrm>
            <a:off x="1386426" y="2538919"/>
            <a:ext cx="3866510" cy="4018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8956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D5894BAA-8AB2-65D9-1B7A-7DB41CB0FDDB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1910130" y="229450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Koen Verbee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1910130" y="3148502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@Ko_V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1910130" y="4856489"/>
            <a:ext cx="2292321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SQLkover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1910130" y="4002495"/>
            <a:ext cx="2072947" cy="26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@koenv.bsky.social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16D830-E522-4C0C-E78D-8F34E7373740}"/>
              </a:ext>
            </a:extLst>
          </p:cNvPr>
          <p:cNvGrpSpPr/>
          <p:nvPr/>
        </p:nvGrpSpPr>
        <p:grpSpPr>
          <a:xfrm>
            <a:off x="994023" y="3042655"/>
            <a:ext cx="670848" cy="671487"/>
            <a:chOff x="-3669270" y="3958097"/>
            <a:chExt cx="2773132" cy="277224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DBAAF9-C70C-DDDD-6ECA-5D5595B99B11}"/>
                </a:ext>
              </a:extLst>
            </p:cNvPr>
            <p:cNvSpPr/>
            <p:nvPr/>
          </p:nvSpPr>
          <p:spPr>
            <a:xfrm>
              <a:off x="-3003850" y="4734985"/>
              <a:ext cx="1441962" cy="1221436"/>
            </a:xfrm>
            <a:custGeom>
              <a:avLst/>
              <a:gdLst>
                <a:gd name="connsiteX0" fmla="*/ 1220046 w 1441962"/>
                <a:gd name="connsiteY0" fmla="*/ 111220 h 1221436"/>
                <a:gd name="connsiteX1" fmla="*/ 1220046 w 1441962"/>
                <a:gd name="connsiteY1" fmla="*/ 0 h 1221436"/>
                <a:gd name="connsiteX2" fmla="*/ 1109253 w 1441962"/>
                <a:gd name="connsiteY2" fmla="*/ 0 h 1221436"/>
                <a:gd name="connsiteX3" fmla="*/ 998459 w 1441962"/>
                <a:gd name="connsiteY3" fmla="*/ 0 h 1221436"/>
                <a:gd name="connsiteX4" fmla="*/ 887336 w 1441962"/>
                <a:gd name="connsiteY4" fmla="*/ 0 h 1221436"/>
                <a:gd name="connsiteX5" fmla="*/ 887336 w 1441962"/>
                <a:gd name="connsiteY5" fmla="*/ 111220 h 1221436"/>
                <a:gd name="connsiteX6" fmla="*/ 776543 w 1441962"/>
                <a:gd name="connsiteY6" fmla="*/ 111220 h 1221436"/>
                <a:gd name="connsiteX7" fmla="*/ 776543 w 1441962"/>
                <a:gd name="connsiteY7" fmla="*/ 222109 h 1221436"/>
                <a:gd name="connsiteX8" fmla="*/ 776543 w 1441962"/>
                <a:gd name="connsiteY8" fmla="*/ 333329 h 1221436"/>
                <a:gd name="connsiteX9" fmla="*/ 665750 w 1441962"/>
                <a:gd name="connsiteY9" fmla="*/ 333329 h 1221436"/>
                <a:gd name="connsiteX10" fmla="*/ 665750 w 1441962"/>
                <a:gd name="connsiteY10" fmla="*/ 444219 h 1221436"/>
                <a:gd name="connsiteX11" fmla="*/ 554626 w 1441962"/>
                <a:gd name="connsiteY11" fmla="*/ 444219 h 1221436"/>
                <a:gd name="connsiteX12" fmla="*/ 443833 w 1441962"/>
                <a:gd name="connsiteY12" fmla="*/ 444219 h 1221436"/>
                <a:gd name="connsiteX13" fmla="*/ 443833 w 1441962"/>
                <a:gd name="connsiteY13" fmla="*/ 333329 h 1221436"/>
                <a:gd name="connsiteX14" fmla="*/ 332710 w 1441962"/>
                <a:gd name="connsiteY14" fmla="*/ 333329 h 1221436"/>
                <a:gd name="connsiteX15" fmla="*/ 332710 w 1441962"/>
                <a:gd name="connsiteY15" fmla="*/ 222109 h 1221436"/>
                <a:gd name="connsiteX16" fmla="*/ 221917 w 1441962"/>
                <a:gd name="connsiteY16" fmla="*/ 222109 h 1221436"/>
                <a:gd name="connsiteX17" fmla="*/ 221917 w 1441962"/>
                <a:gd name="connsiteY17" fmla="*/ 111220 h 1221436"/>
                <a:gd name="connsiteX18" fmla="*/ 111123 w 1441962"/>
                <a:gd name="connsiteY18" fmla="*/ 111220 h 1221436"/>
                <a:gd name="connsiteX19" fmla="*/ 111123 w 1441962"/>
                <a:gd name="connsiteY19" fmla="*/ 0 h 1221436"/>
                <a:gd name="connsiteX20" fmla="*/ 0 w 1441962"/>
                <a:gd name="connsiteY20" fmla="*/ 0 h 1221436"/>
                <a:gd name="connsiteX21" fmla="*/ 0 w 1441962"/>
                <a:gd name="connsiteY21" fmla="*/ 111220 h 1221436"/>
                <a:gd name="connsiteX22" fmla="*/ 0 w 1441962"/>
                <a:gd name="connsiteY22" fmla="*/ 222109 h 1221436"/>
                <a:gd name="connsiteX23" fmla="*/ 0 w 1441962"/>
                <a:gd name="connsiteY23" fmla="*/ 333329 h 1221436"/>
                <a:gd name="connsiteX24" fmla="*/ 111123 w 1441962"/>
                <a:gd name="connsiteY24" fmla="*/ 333329 h 1221436"/>
                <a:gd name="connsiteX25" fmla="*/ 111123 w 1441962"/>
                <a:gd name="connsiteY25" fmla="*/ 444219 h 1221436"/>
                <a:gd name="connsiteX26" fmla="*/ 0 w 1441962"/>
                <a:gd name="connsiteY26" fmla="*/ 444219 h 1221436"/>
                <a:gd name="connsiteX27" fmla="*/ 0 w 1441962"/>
                <a:gd name="connsiteY27" fmla="*/ 555108 h 1221436"/>
                <a:gd name="connsiteX28" fmla="*/ 111123 w 1441962"/>
                <a:gd name="connsiteY28" fmla="*/ 555108 h 1221436"/>
                <a:gd name="connsiteX29" fmla="*/ 111123 w 1441962"/>
                <a:gd name="connsiteY29" fmla="*/ 666328 h 1221436"/>
                <a:gd name="connsiteX30" fmla="*/ 221917 w 1441962"/>
                <a:gd name="connsiteY30" fmla="*/ 666328 h 1221436"/>
                <a:gd name="connsiteX31" fmla="*/ 221917 w 1441962"/>
                <a:gd name="connsiteY31" fmla="*/ 777218 h 1221436"/>
                <a:gd name="connsiteX32" fmla="*/ 111123 w 1441962"/>
                <a:gd name="connsiteY32" fmla="*/ 777218 h 1221436"/>
                <a:gd name="connsiteX33" fmla="*/ 111123 w 1441962"/>
                <a:gd name="connsiteY33" fmla="*/ 888108 h 1221436"/>
                <a:gd name="connsiteX34" fmla="*/ 221917 w 1441962"/>
                <a:gd name="connsiteY34" fmla="*/ 888108 h 1221436"/>
                <a:gd name="connsiteX35" fmla="*/ 332710 w 1441962"/>
                <a:gd name="connsiteY35" fmla="*/ 888108 h 1221436"/>
                <a:gd name="connsiteX36" fmla="*/ 332710 w 1441962"/>
                <a:gd name="connsiteY36" fmla="*/ 999327 h 1221436"/>
                <a:gd name="connsiteX37" fmla="*/ 332710 w 1441962"/>
                <a:gd name="connsiteY37" fmla="*/ 1110217 h 1221436"/>
                <a:gd name="connsiteX38" fmla="*/ 221917 w 1441962"/>
                <a:gd name="connsiteY38" fmla="*/ 1110217 h 1221436"/>
                <a:gd name="connsiteX39" fmla="*/ 111123 w 1441962"/>
                <a:gd name="connsiteY39" fmla="*/ 1110217 h 1221436"/>
                <a:gd name="connsiteX40" fmla="*/ 111123 w 1441962"/>
                <a:gd name="connsiteY40" fmla="*/ 1221437 h 1221436"/>
                <a:gd name="connsiteX41" fmla="*/ 221917 w 1441962"/>
                <a:gd name="connsiteY41" fmla="*/ 1221437 h 1221436"/>
                <a:gd name="connsiteX42" fmla="*/ 332710 w 1441962"/>
                <a:gd name="connsiteY42" fmla="*/ 1221437 h 1221436"/>
                <a:gd name="connsiteX43" fmla="*/ 443833 w 1441962"/>
                <a:gd name="connsiteY43" fmla="*/ 1221437 h 1221436"/>
                <a:gd name="connsiteX44" fmla="*/ 554626 w 1441962"/>
                <a:gd name="connsiteY44" fmla="*/ 1221437 h 1221436"/>
                <a:gd name="connsiteX45" fmla="*/ 665750 w 1441962"/>
                <a:gd name="connsiteY45" fmla="*/ 1221437 h 1221436"/>
                <a:gd name="connsiteX46" fmla="*/ 776543 w 1441962"/>
                <a:gd name="connsiteY46" fmla="*/ 1221437 h 1221436"/>
                <a:gd name="connsiteX47" fmla="*/ 887336 w 1441962"/>
                <a:gd name="connsiteY47" fmla="*/ 1221437 h 1221436"/>
                <a:gd name="connsiteX48" fmla="*/ 887336 w 1441962"/>
                <a:gd name="connsiteY48" fmla="*/ 1110217 h 1221436"/>
                <a:gd name="connsiteX49" fmla="*/ 998459 w 1441962"/>
                <a:gd name="connsiteY49" fmla="*/ 1110217 h 1221436"/>
                <a:gd name="connsiteX50" fmla="*/ 998459 w 1441962"/>
                <a:gd name="connsiteY50" fmla="*/ 999327 h 1221436"/>
                <a:gd name="connsiteX51" fmla="*/ 1109253 w 1441962"/>
                <a:gd name="connsiteY51" fmla="*/ 999327 h 1221436"/>
                <a:gd name="connsiteX52" fmla="*/ 1109253 w 1441962"/>
                <a:gd name="connsiteY52" fmla="*/ 888108 h 1221436"/>
                <a:gd name="connsiteX53" fmla="*/ 1220046 w 1441962"/>
                <a:gd name="connsiteY53" fmla="*/ 888108 h 1221436"/>
                <a:gd name="connsiteX54" fmla="*/ 1220046 w 1441962"/>
                <a:gd name="connsiteY54" fmla="*/ 777218 h 1221436"/>
                <a:gd name="connsiteX55" fmla="*/ 1220046 w 1441962"/>
                <a:gd name="connsiteY55" fmla="*/ 666328 h 1221436"/>
                <a:gd name="connsiteX56" fmla="*/ 1331169 w 1441962"/>
                <a:gd name="connsiteY56" fmla="*/ 666328 h 1221436"/>
                <a:gd name="connsiteX57" fmla="*/ 1331169 w 1441962"/>
                <a:gd name="connsiteY57" fmla="*/ 555108 h 1221436"/>
                <a:gd name="connsiteX58" fmla="*/ 1331169 w 1441962"/>
                <a:gd name="connsiteY58" fmla="*/ 444219 h 1221436"/>
                <a:gd name="connsiteX59" fmla="*/ 1220046 w 1441962"/>
                <a:gd name="connsiteY59" fmla="*/ 444219 h 1221436"/>
                <a:gd name="connsiteX60" fmla="*/ 1220046 w 1441962"/>
                <a:gd name="connsiteY60" fmla="*/ 333329 h 1221436"/>
                <a:gd name="connsiteX61" fmla="*/ 1331169 w 1441962"/>
                <a:gd name="connsiteY61" fmla="*/ 333329 h 1221436"/>
                <a:gd name="connsiteX62" fmla="*/ 1331169 w 1441962"/>
                <a:gd name="connsiteY62" fmla="*/ 222109 h 1221436"/>
                <a:gd name="connsiteX63" fmla="*/ 1441963 w 1441962"/>
                <a:gd name="connsiteY63" fmla="*/ 222109 h 1221436"/>
                <a:gd name="connsiteX64" fmla="*/ 1441963 w 1441962"/>
                <a:gd name="connsiteY64" fmla="*/ 111220 h 1221436"/>
                <a:gd name="connsiteX65" fmla="*/ 1331169 w 1441962"/>
                <a:gd name="connsiteY65" fmla="*/ 111220 h 122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441962" h="1221436">
                  <a:moveTo>
                    <a:pt x="1220046" y="111220"/>
                  </a:move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336" y="0"/>
                  </a:ln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222109"/>
                  </a:lnTo>
                  <a:lnTo>
                    <a:pt x="776543" y="333329"/>
                  </a:lnTo>
                  <a:lnTo>
                    <a:pt x="665750" y="333329"/>
                  </a:lnTo>
                  <a:lnTo>
                    <a:pt x="665750" y="444219"/>
                  </a:lnTo>
                  <a:lnTo>
                    <a:pt x="554626" y="444219"/>
                  </a:lnTo>
                  <a:lnTo>
                    <a:pt x="443833" y="444219"/>
                  </a:lnTo>
                  <a:lnTo>
                    <a:pt x="443833" y="333329"/>
                  </a:lnTo>
                  <a:lnTo>
                    <a:pt x="332710" y="333329"/>
                  </a:lnTo>
                  <a:lnTo>
                    <a:pt x="332710" y="222109"/>
                  </a:lnTo>
                  <a:lnTo>
                    <a:pt x="221917" y="222109"/>
                  </a:lnTo>
                  <a:lnTo>
                    <a:pt x="221917" y="111220"/>
                  </a:lnTo>
                  <a:lnTo>
                    <a:pt x="111123" y="11122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3329"/>
                  </a:lnTo>
                  <a:lnTo>
                    <a:pt x="111123" y="333329"/>
                  </a:lnTo>
                  <a:lnTo>
                    <a:pt x="111123" y="444219"/>
                  </a:lnTo>
                  <a:lnTo>
                    <a:pt x="0" y="444219"/>
                  </a:lnTo>
                  <a:lnTo>
                    <a:pt x="0" y="555108"/>
                  </a:lnTo>
                  <a:lnTo>
                    <a:pt x="111123" y="555108"/>
                  </a:lnTo>
                  <a:lnTo>
                    <a:pt x="111123" y="666328"/>
                  </a:lnTo>
                  <a:lnTo>
                    <a:pt x="221917" y="666328"/>
                  </a:lnTo>
                  <a:lnTo>
                    <a:pt x="221917" y="777218"/>
                  </a:lnTo>
                  <a:lnTo>
                    <a:pt x="111123" y="777218"/>
                  </a:lnTo>
                  <a:lnTo>
                    <a:pt x="111123" y="888108"/>
                  </a:lnTo>
                  <a:lnTo>
                    <a:pt x="221917" y="888108"/>
                  </a:lnTo>
                  <a:lnTo>
                    <a:pt x="332710" y="888108"/>
                  </a:lnTo>
                  <a:lnTo>
                    <a:pt x="332710" y="999327"/>
                  </a:lnTo>
                  <a:lnTo>
                    <a:pt x="332710" y="1110217"/>
                  </a:lnTo>
                  <a:lnTo>
                    <a:pt x="221917" y="1110217"/>
                  </a:lnTo>
                  <a:lnTo>
                    <a:pt x="111123" y="1110217"/>
                  </a:lnTo>
                  <a:lnTo>
                    <a:pt x="111123" y="1221437"/>
                  </a:lnTo>
                  <a:lnTo>
                    <a:pt x="221917" y="1221437"/>
                  </a:lnTo>
                  <a:lnTo>
                    <a:pt x="332710" y="1221437"/>
                  </a:lnTo>
                  <a:lnTo>
                    <a:pt x="443833" y="1221437"/>
                  </a:lnTo>
                  <a:lnTo>
                    <a:pt x="554626" y="1221437"/>
                  </a:lnTo>
                  <a:lnTo>
                    <a:pt x="665750" y="1221437"/>
                  </a:lnTo>
                  <a:lnTo>
                    <a:pt x="776543" y="1221437"/>
                  </a:lnTo>
                  <a:lnTo>
                    <a:pt x="887336" y="1221437"/>
                  </a:lnTo>
                  <a:lnTo>
                    <a:pt x="887336" y="1110217"/>
                  </a:lnTo>
                  <a:lnTo>
                    <a:pt x="998459" y="1110217"/>
                  </a:lnTo>
                  <a:lnTo>
                    <a:pt x="998459" y="999327"/>
                  </a:lnTo>
                  <a:lnTo>
                    <a:pt x="1109253" y="999327"/>
                  </a:lnTo>
                  <a:lnTo>
                    <a:pt x="1109253" y="888108"/>
                  </a:lnTo>
                  <a:lnTo>
                    <a:pt x="1220046" y="888108"/>
                  </a:lnTo>
                  <a:lnTo>
                    <a:pt x="1220046" y="777218"/>
                  </a:lnTo>
                  <a:lnTo>
                    <a:pt x="1220046" y="666328"/>
                  </a:lnTo>
                  <a:lnTo>
                    <a:pt x="1331169" y="666328"/>
                  </a:lnTo>
                  <a:lnTo>
                    <a:pt x="1331169" y="555108"/>
                  </a:lnTo>
                  <a:lnTo>
                    <a:pt x="1331169" y="444219"/>
                  </a:lnTo>
                  <a:lnTo>
                    <a:pt x="1220046" y="444219"/>
                  </a:lnTo>
                  <a:lnTo>
                    <a:pt x="1220046" y="333329"/>
                  </a:lnTo>
                  <a:lnTo>
                    <a:pt x="1331169" y="333329"/>
                  </a:lnTo>
                  <a:lnTo>
                    <a:pt x="1331169" y="222109"/>
                  </a:lnTo>
                  <a:lnTo>
                    <a:pt x="1441963" y="222109"/>
                  </a:lnTo>
                  <a:lnTo>
                    <a:pt x="1441963" y="111220"/>
                  </a:lnTo>
                  <a:lnTo>
                    <a:pt x="1331169" y="111220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7F1FA93-F350-028B-DCDE-7ABE8EE808D5}"/>
                </a:ext>
              </a:extLst>
            </p:cNvPr>
            <p:cNvSpPr/>
            <p:nvPr/>
          </p:nvSpPr>
          <p:spPr>
            <a:xfrm>
              <a:off x="-3669270" y="3958097"/>
              <a:ext cx="2773132" cy="2772242"/>
            </a:xfrm>
            <a:custGeom>
              <a:avLst/>
              <a:gdLst>
                <a:gd name="connsiteX0" fmla="*/ 2662009 w 2773132"/>
                <a:gd name="connsiteY0" fmla="*/ 221779 h 2772242"/>
                <a:gd name="connsiteX1" fmla="*/ 2551216 w 2773132"/>
                <a:gd name="connsiteY1" fmla="*/ 221779 h 2772242"/>
                <a:gd name="connsiteX2" fmla="*/ 2551216 w 2773132"/>
                <a:gd name="connsiteY2" fmla="*/ 110890 h 2772242"/>
                <a:gd name="connsiteX3" fmla="*/ 2440092 w 2773132"/>
                <a:gd name="connsiteY3" fmla="*/ 110890 h 2772242"/>
                <a:gd name="connsiteX4" fmla="*/ 2440092 w 2773132"/>
                <a:gd name="connsiteY4" fmla="*/ 0 h 2772242"/>
                <a:gd name="connsiteX5" fmla="*/ 2329299 w 2773132"/>
                <a:gd name="connsiteY5" fmla="*/ 0 h 2772242"/>
                <a:gd name="connsiteX6" fmla="*/ 2218506 w 2773132"/>
                <a:gd name="connsiteY6" fmla="*/ 0 h 2772242"/>
                <a:gd name="connsiteX7" fmla="*/ 2107712 w 2773132"/>
                <a:gd name="connsiteY7" fmla="*/ 0 h 2772242"/>
                <a:gd name="connsiteX8" fmla="*/ 1996919 w 2773132"/>
                <a:gd name="connsiteY8" fmla="*/ 0 h 2772242"/>
                <a:gd name="connsiteX9" fmla="*/ 1886126 w 2773132"/>
                <a:gd name="connsiteY9" fmla="*/ 0 h 2772242"/>
                <a:gd name="connsiteX10" fmla="*/ 1775332 w 2773132"/>
                <a:gd name="connsiteY10" fmla="*/ 0 h 2772242"/>
                <a:gd name="connsiteX11" fmla="*/ 1664539 w 2773132"/>
                <a:gd name="connsiteY11" fmla="*/ 0 h 2772242"/>
                <a:gd name="connsiteX12" fmla="*/ 1553745 w 2773132"/>
                <a:gd name="connsiteY12" fmla="*/ 0 h 2772242"/>
                <a:gd name="connsiteX13" fmla="*/ 1442952 w 2773132"/>
                <a:gd name="connsiteY13" fmla="*/ 0 h 2772242"/>
                <a:gd name="connsiteX14" fmla="*/ 1332159 w 2773132"/>
                <a:gd name="connsiteY14" fmla="*/ 0 h 2772242"/>
                <a:gd name="connsiteX15" fmla="*/ 1220046 w 2773132"/>
                <a:gd name="connsiteY15" fmla="*/ 0 h 2772242"/>
                <a:gd name="connsiteX16" fmla="*/ 1109253 w 2773132"/>
                <a:gd name="connsiteY16" fmla="*/ 0 h 2772242"/>
                <a:gd name="connsiteX17" fmla="*/ 998459 w 2773132"/>
                <a:gd name="connsiteY17" fmla="*/ 0 h 2772242"/>
                <a:gd name="connsiteX18" fmla="*/ 887666 w 2773132"/>
                <a:gd name="connsiteY18" fmla="*/ 0 h 2772242"/>
                <a:gd name="connsiteX19" fmla="*/ 776873 w 2773132"/>
                <a:gd name="connsiteY19" fmla="*/ 0 h 2772242"/>
                <a:gd name="connsiteX20" fmla="*/ 666079 w 2773132"/>
                <a:gd name="connsiteY20" fmla="*/ 0 h 2772242"/>
                <a:gd name="connsiteX21" fmla="*/ 555286 w 2773132"/>
                <a:gd name="connsiteY21" fmla="*/ 0 h 2772242"/>
                <a:gd name="connsiteX22" fmla="*/ 444493 w 2773132"/>
                <a:gd name="connsiteY22" fmla="*/ 0 h 2772242"/>
                <a:gd name="connsiteX23" fmla="*/ 333699 w 2773132"/>
                <a:gd name="connsiteY23" fmla="*/ 0 h 2772242"/>
                <a:gd name="connsiteX24" fmla="*/ 333699 w 2773132"/>
                <a:gd name="connsiteY24" fmla="*/ 110890 h 2772242"/>
                <a:gd name="connsiteX25" fmla="*/ 221917 w 2773132"/>
                <a:gd name="connsiteY25" fmla="*/ 110890 h 2772242"/>
                <a:gd name="connsiteX26" fmla="*/ 221917 w 2773132"/>
                <a:gd name="connsiteY26" fmla="*/ 221779 h 2772242"/>
                <a:gd name="connsiteX27" fmla="*/ 110793 w 2773132"/>
                <a:gd name="connsiteY27" fmla="*/ 221779 h 2772242"/>
                <a:gd name="connsiteX28" fmla="*/ 110793 w 2773132"/>
                <a:gd name="connsiteY28" fmla="*/ 332669 h 2772242"/>
                <a:gd name="connsiteX29" fmla="*/ 0 w 2773132"/>
                <a:gd name="connsiteY29" fmla="*/ 332669 h 2772242"/>
                <a:gd name="connsiteX30" fmla="*/ 0 w 2773132"/>
                <a:gd name="connsiteY30" fmla="*/ 443559 h 2772242"/>
                <a:gd name="connsiteX31" fmla="*/ 0 w 2773132"/>
                <a:gd name="connsiteY31" fmla="*/ 554449 h 2772242"/>
                <a:gd name="connsiteX32" fmla="*/ 0 w 2773132"/>
                <a:gd name="connsiteY32" fmla="*/ 665338 h 2772242"/>
                <a:gd name="connsiteX33" fmla="*/ 0 w 2773132"/>
                <a:gd name="connsiteY33" fmla="*/ 776228 h 2772242"/>
                <a:gd name="connsiteX34" fmla="*/ 0 w 2773132"/>
                <a:gd name="connsiteY34" fmla="*/ 887118 h 2772242"/>
                <a:gd name="connsiteX35" fmla="*/ 0 w 2773132"/>
                <a:gd name="connsiteY35" fmla="*/ 998007 h 2772242"/>
                <a:gd name="connsiteX36" fmla="*/ 0 w 2773132"/>
                <a:gd name="connsiteY36" fmla="*/ 1108897 h 2772242"/>
                <a:gd name="connsiteX37" fmla="*/ 0 w 2773132"/>
                <a:gd name="connsiteY37" fmla="*/ 1219787 h 2772242"/>
                <a:gd name="connsiteX38" fmla="*/ 0 w 2773132"/>
                <a:gd name="connsiteY38" fmla="*/ 1330676 h 2772242"/>
                <a:gd name="connsiteX39" fmla="*/ 0 w 2773132"/>
                <a:gd name="connsiteY39" fmla="*/ 1441566 h 2772242"/>
                <a:gd name="connsiteX40" fmla="*/ 0 w 2773132"/>
                <a:gd name="connsiteY40" fmla="*/ 1552456 h 2772242"/>
                <a:gd name="connsiteX41" fmla="*/ 0 w 2773132"/>
                <a:gd name="connsiteY41" fmla="*/ 1663346 h 2772242"/>
                <a:gd name="connsiteX42" fmla="*/ 0 w 2773132"/>
                <a:gd name="connsiteY42" fmla="*/ 1774235 h 2772242"/>
                <a:gd name="connsiteX43" fmla="*/ 0 w 2773132"/>
                <a:gd name="connsiteY43" fmla="*/ 1885125 h 2772242"/>
                <a:gd name="connsiteX44" fmla="*/ 0 w 2773132"/>
                <a:gd name="connsiteY44" fmla="*/ 1996015 h 2772242"/>
                <a:gd name="connsiteX45" fmla="*/ 0 w 2773132"/>
                <a:gd name="connsiteY45" fmla="*/ 2106905 h 2772242"/>
                <a:gd name="connsiteX46" fmla="*/ 0 w 2773132"/>
                <a:gd name="connsiteY46" fmla="*/ 2217794 h 2772242"/>
                <a:gd name="connsiteX47" fmla="*/ 0 w 2773132"/>
                <a:gd name="connsiteY47" fmla="*/ 2328684 h 2772242"/>
                <a:gd name="connsiteX48" fmla="*/ 0 w 2773132"/>
                <a:gd name="connsiteY48" fmla="*/ 2439573 h 2772242"/>
                <a:gd name="connsiteX49" fmla="*/ 110793 w 2773132"/>
                <a:gd name="connsiteY49" fmla="*/ 2439573 h 2772242"/>
                <a:gd name="connsiteX50" fmla="*/ 110793 w 2773132"/>
                <a:gd name="connsiteY50" fmla="*/ 2550463 h 2772242"/>
                <a:gd name="connsiteX51" fmla="*/ 221587 w 2773132"/>
                <a:gd name="connsiteY51" fmla="*/ 2550463 h 2772242"/>
                <a:gd name="connsiteX52" fmla="*/ 221587 w 2773132"/>
                <a:gd name="connsiteY52" fmla="*/ 2661353 h 2772242"/>
                <a:gd name="connsiteX53" fmla="*/ 332380 w 2773132"/>
                <a:gd name="connsiteY53" fmla="*/ 2661353 h 2772242"/>
                <a:gd name="connsiteX54" fmla="*/ 332380 w 2773132"/>
                <a:gd name="connsiteY54" fmla="*/ 2772243 h 2772242"/>
                <a:gd name="connsiteX55" fmla="*/ 443174 w 2773132"/>
                <a:gd name="connsiteY55" fmla="*/ 2772243 h 2772242"/>
                <a:gd name="connsiteX56" fmla="*/ 553967 w 2773132"/>
                <a:gd name="connsiteY56" fmla="*/ 2772243 h 2772242"/>
                <a:gd name="connsiteX57" fmla="*/ 664760 w 2773132"/>
                <a:gd name="connsiteY57" fmla="*/ 2772243 h 2772242"/>
                <a:gd name="connsiteX58" fmla="*/ 775554 w 2773132"/>
                <a:gd name="connsiteY58" fmla="*/ 2772243 h 2772242"/>
                <a:gd name="connsiteX59" fmla="*/ 886347 w 2773132"/>
                <a:gd name="connsiteY59" fmla="*/ 2772243 h 2772242"/>
                <a:gd name="connsiteX60" fmla="*/ 997140 w 2773132"/>
                <a:gd name="connsiteY60" fmla="*/ 2772243 h 2772242"/>
                <a:gd name="connsiteX61" fmla="*/ 1107934 w 2773132"/>
                <a:gd name="connsiteY61" fmla="*/ 2772243 h 2772242"/>
                <a:gd name="connsiteX62" fmla="*/ 1220046 w 2773132"/>
                <a:gd name="connsiteY62" fmla="*/ 2772243 h 2772242"/>
                <a:gd name="connsiteX63" fmla="*/ 1330840 w 2773132"/>
                <a:gd name="connsiteY63" fmla="*/ 2772243 h 2772242"/>
                <a:gd name="connsiteX64" fmla="*/ 1441633 w 2773132"/>
                <a:gd name="connsiteY64" fmla="*/ 2772243 h 2772242"/>
                <a:gd name="connsiteX65" fmla="*/ 1552426 w 2773132"/>
                <a:gd name="connsiteY65" fmla="*/ 2772243 h 2772242"/>
                <a:gd name="connsiteX66" fmla="*/ 1663220 w 2773132"/>
                <a:gd name="connsiteY66" fmla="*/ 2772243 h 2772242"/>
                <a:gd name="connsiteX67" fmla="*/ 1774013 w 2773132"/>
                <a:gd name="connsiteY67" fmla="*/ 2772243 h 2772242"/>
                <a:gd name="connsiteX68" fmla="*/ 1884806 w 2773132"/>
                <a:gd name="connsiteY68" fmla="*/ 2772243 h 2772242"/>
                <a:gd name="connsiteX69" fmla="*/ 1995600 w 2773132"/>
                <a:gd name="connsiteY69" fmla="*/ 2772243 h 2772242"/>
                <a:gd name="connsiteX70" fmla="*/ 2106393 w 2773132"/>
                <a:gd name="connsiteY70" fmla="*/ 2772243 h 2772242"/>
                <a:gd name="connsiteX71" fmla="*/ 2217187 w 2773132"/>
                <a:gd name="connsiteY71" fmla="*/ 2772243 h 2772242"/>
                <a:gd name="connsiteX72" fmla="*/ 2327980 w 2773132"/>
                <a:gd name="connsiteY72" fmla="*/ 2772243 h 2772242"/>
                <a:gd name="connsiteX73" fmla="*/ 2440092 w 2773132"/>
                <a:gd name="connsiteY73" fmla="*/ 2772243 h 2772242"/>
                <a:gd name="connsiteX74" fmla="*/ 2440092 w 2773132"/>
                <a:gd name="connsiteY74" fmla="*/ 2661353 h 2772242"/>
                <a:gd name="connsiteX75" fmla="*/ 2550886 w 2773132"/>
                <a:gd name="connsiteY75" fmla="*/ 2661353 h 2772242"/>
                <a:gd name="connsiteX76" fmla="*/ 2550886 w 2773132"/>
                <a:gd name="connsiteY76" fmla="*/ 2550463 h 2772242"/>
                <a:gd name="connsiteX77" fmla="*/ 2661679 w 2773132"/>
                <a:gd name="connsiteY77" fmla="*/ 2550463 h 2772242"/>
                <a:gd name="connsiteX78" fmla="*/ 2661679 w 2773132"/>
                <a:gd name="connsiteY78" fmla="*/ 2439573 h 2772242"/>
                <a:gd name="connsiteX79" fmla="*/ 2773132 w 2773132"/>
                <a:gd name="connsiteY79" fmla="*/ 2439573 h 2772242"/>
                <a:gd name="connsiteX80" fmla="*/ 2773132 w 2773132"/>
                <a:gd name="connsiteY80" fmla="*/ 2328684 h 2772242"/>
                <a:gd name="connsiteX81" fmla="*/ 2773132 w 2773132"/>
                <a:gd name="connsiteY81" fmla="*/ 2217794 h 2772242"/>
                <a:gd name="connsiteX82" fmla="*/ 2773132 w 2773132"/>
                <a:gd name="connsiteY82" fmla="*/ 2106905 h 2772242"/>
                <a:gd name="connsiteX83" fmla="*/ 2773132 w 2773132"/>
                <a:gd name="connsiteY83" fmla="*/ 1998325 h 2772242"/>
                <a:gd name="connsiteX84" fmla="*/ 2773132 w 2773132"/>
                <a:gd name="connsiteY84" fmla="*/ 1887435 h 2772242"/>
                <a:gd name="connsiteX85" fmla="*/ 2773132 w 2773132"/>
                <a:gd name="connsiteY85" fmla="*/ 1776546 h 2772242"/>
                <a:gd name="connsiteX86" fmla="*/ 2773132 w 2773132"/>
                <a:gd name="connsiteY86" fmla="*/ 1664996 h 2772242"/>
                <a:gd name="connsiteX87" fmla="*/ 2773132 w 2773132"/>
                <a:gd name="connsiteY87" fmla="*/ 1554106 h 2772242"/>
                <a:gd name="connsiteX88" fmla="*/ 2773132 w 2773132"/>
                <a:gd name="connsiteY88" fmla="*/ 1443216 h 2772242"/>
                <a:gd name="connsiteX89" fmla="*/ 2773132 w 2773132"/>
                <a:gd name="connsiteY89" fmla="*/ 1332326 h 2772242"/>
                <a:gd name="connsiteX90" fmla="*/ 2773132 w 2773132"/>
                <a:gd name="connsiteY90" fmla="*/ 1221437 h 2772242"/>
                <a:gd name="connsiteX91" fmla="*/ 2773132 w 2773132"/>
                <a:gd name="connsiteY91" fmla="*/ 1110547 h 2772242"/>
                <a:gd name="connsiteX92" fmla="*/ 2773132 w 2773132"/>
                <a:gd name="connsiteY92" fmla="*/ 999658 h 2772242"/>
                <a:gd name="connsiteX93" fmla="*/ 2773132 w 2773132"/>
                <a:gd name="connsiteY93" fmla="*/ 888768 h 2772242"/>
                <a:gd name="connsiteX94" fmla="*/ 2773132 w 2773132"/>
                <a:gd name="connsiteY94" fmla="*/ 777878 h 2772242"/>
                <a:gd name="connsiteX95" fmla="*/ 2773132 w 2773132"/>
                <a:gd name="connsiteY95" fmla="*/ 666988 h 2772242"/>
                <a:gd name="connsiteX96" fmla="*/ 2773132 w 2773132"/>
                <a:gd name="connsiteY96" fmla="*/ 556099 h 2772242"/>
                <a:gd name="connsiteX97" fmla="*/ 2773132 w 2773132"/>
                <a:gd name="connsiteY97" fmla="*/ 443889 h 2772242"/>
                <a:gd name="connsiteX98" fmla="*/ 2773132 w 2773132"/>
                <a:gd name="connsiteY98" fmla="*/ 332999 h 2772242"/>
                <a:gd name="connsiteX99" fmla="*/ 2662339 w 2773132"/>
                <a:gd name="connsiteY99" fmla="*/ 332999 h 2772242"/>
                <a:gd name="connsiteX100" fmla="*/ 2662339 w 2773132"/>
                <a:gd name="connsiteY100" fmla="*/ 221779 h 2772242"/>
                <a:gd name="connsiteX101" fmla="*/ 776543 w 2773132"/>
                <a:gd name="connsiteY101" fmla="*/ 776888 h 2772242"/>
                <a:gd name="connsiteX102" fmla="*/ 776543 w 2773132"/>
                <a:gd name="connsiteY102" fmla="*/ 887778 h 2772242"/>
                <a:gd name="connsiteX103" fmla="*/ 887336 w 2773132"/>
                <a:gd name="connsiteY103" fmla="*/ 887778 h 2772242"/>
                <a:gd name="connsiteX104" fmla="*/ 887336 w 2773132"/>
                <a:gd name="connsiteY104" fmla="*/ 998667 h 2772242"/>
                <a:gd name="connsiteX105" fmla="*/ 998130 w 2773132"/>
                <a:gd name="connsiteY105" fmla="*/ 998667 h 2772242"/>
                <a:gd name="connsiteX106" fmla="*/ 998130 w 2773132"/>
                <a:gd name="connsiteY106" fmla="*/ 1109557 h 2772242"/>
                <a:gd name="connsiteX107" fmla="*/ 1108923 w 2773132"/>
                <a:gd name="connsiteY107" fmla="*/ 1109557 h 2772242"/>
                <a:gd name="connsiteX108" fmla="*/ 1108923 w 2773132"/>
                <a:gd name="connsiteY108" fmla="*/ 1220447 h 2772242"/>
                <a:gd name="connsiteX109" fmla="*/ 1220046 w 2773132"/>
                <a:gd name="connsiteY109" fmla="*/ 1220447 h 2772242"/>
                <a:gd name="connsiteX110" fmla="*/ 1330840 w 2773132"/>
                <a:gd name="connsiteY110" fmla="*/ 1220447 h 2772242"/>
                <a:gd name="connsiteX111" fmla="*/ 1330840 w 2773132"/>
                <a:gd name="connsiteY111" fmla="*/ 1109557 h 2772242"/>
                <a:gd name="connsiteX112" fmla="*/ 1441633 w 2773132"/>
                <a:gd name="connsiteY112" fmla="*/ 1109557 h 2772242"/>
                <a:gd name="connsiteX113" fmla="*/ 1441633 w 2773132"/>
                <a:gd name="connsiteY113" fmla="*/ 998667 h 2772242"/>
                <a:gd name="connsiteX114" fmla="*/ 1441633 w 2773132"/>
                <a:gd name="connsiteY114" fmla="*/ 887778 h 2772242"/>
                <a:gd name="connsiteX115" fmla="*/ 1552426 w 2773132"/>
                <a:gd name="connsiteY115" fmla="*/ 887778 h 2772242"/>
                <a:gd name="connsiteX116" fmla="*/ 1552426 w 2773132"/>
                <a:gd name="connsiteY116" fmla="*/ 776888 h 2772242"/>
                <a:gd name="connsiteX117" fmla="*/ 1663220 w 2773132"/>
                <a:gd name="connsiteY117" fmla="*/ 776888 h 2772242"/>
                <a:gd name="connsiteX118" fmla="*/ 1774013 w 2773132"/>
                <a:gd name="connsiteY118" fmla="*/ 776888 h 2772242"/>
                <a:gd name="connsiteX119" fmla="*/ 1884806 w 2773132"/>
                <a:gd name="connsiteY119" fmla="*/ 776888 h 2772242"/>
                <a:gd name="connsiteX120" fmla="*/ 1884806 w 2773132"/>
                <a:gd name="connsiteY120" fmla="*/ 887778 h 2772242"/>
                <a:gd name="connsiteX121" fmla="*/ 1995600 w 2773132"/>
                <a:gd name="connsiteY121" fmla="*/ 887778 h 2772242"/>
                <a:gd name="connsiteX122" fmla="*/ 2106393 w 2773132"/>
                <a:gd name="connsiteY122" fmla="*/ 887778 h 2772242"/>
                <a:gd name="connsiteX123" fmla="*/ 2106393 w 2773132"/>
                <a:gd name="connsiteY123" fmla="*/ 998667 h 2772242"/>
                <a:gd name="connsiteX124" fmla="*/ 1995600 w 2773132"/>
                <a:gd name="connsiteY124" fmla="*/ 998667 h 2772242"/>
                <a:gd name="connsiteX125" fmla="*/ 1995600 w 2773132"/>
                <a:gd name="connsiteY125" fmla="*/ 1109557 h 2772242"/>
                <a:gd name="connsiteX126" fmla="*/ 1884806 w 2773132"/>
                <a:gd name="connsiteY126" fmla="*/ 1109557 h 2772242"/>
                <a:gd name="connsiteX127" fmla="*/ 1884806 w 2773132"/>
                <a:gd name="connsiteY127" fmla="*/ 1220447 h 2772242"/>
                <a:gd name="connsiteX128" fmla="*/ 1995600 w 2773132"/>
                <a:gd name="connsiteY128" fmla="*/ 1220447 h 2772242"/>
                <a:gd name="connsiteX129" fmla="*/ 1995600 w 2773132"/>
                <a:gd name="connsiteY129" fmla="*/ 1331337 h 2772242"/>
                <a:gd name="connsiteX130" fmla="*/ 1995600 w 2773132"/>
                <a:gd name="connsiteY130" fmla="*/ 1442226 h 2772242"/>
                <a:gd name="connsiteX131" fmla="*/ 1884806 w 2773132"/>
                <a:gd name="connsiteY131" fmla="*/ 1442226 h 2772242"/>
                <a:gd name="connsiteX132" fmla="*/ 1884806 w 2773132"/>
                <a:gd name="connsiteY132" fmla="*/ 1553116 h 2772242"/>
                <a:gd name="connsiteX133" fmla="*/ 1884806 w 2773132"/>
                <a:gd name="connsiteY133" fmla="*/ 1664005 h 2772242"/>
                <a:gd name="connsiteX134" fmla="*/ 1774013 w 2773132"/>
                <a:gd name="connsiteY134" fmla="*/ 1664005 h 2772242"/>
                <a:gd name="connsiteX135" fmla="*/ 1774013 w 2773132"/>
                <a:gd name="connsiteY135" fmla="*/ 1774896 h 2772242"/>
                <a:gd name="connsiteX136" fmla="*/ 1663220 w 2773132"/>
                <a:gd name="connsiteY136" fmla="*/ 1774896 h 2772242"/>
                <a:gd name="connsiteX137" fmla="*/ 1663220 w 2773132"/>
                <a:gd name="connsiteY137" fmla="*/ 1885785 h 2772242"/>
                <a:gd name="connsiteX138" fmla="*/ 1552426 w 2773132"/>
                <a:gd name="connsiteY138" fmla="*/ 1885785 h 2772242"/>
                <a:gd name="connsiteX139" fmla="*/ 1552426 w 2773132"/>
                <a:gd name="connsiteY139" fmla="*/ 1996675 h 2772242"/>
                <a:gd name="connsiteX140" fmla="*/ 1441633 w 2773132"/>
                <a:gd name="connsiteY140" fmla="*/ 1996675 h 2772242"/>
                <a:gd name="connsiteX141" fmla="*/ 1330840 w 2773132"/>
                <a:gd name="connsiteY141" fmla="*/ 1996675 h 2772242"/>
                <a:gd name="connsiteX142" fmla="*/ 1220046 w 2773132"/>
                <a:gd name="connsiteY142" fmla="*/ 1996675 h 2772242"/>
                <a:gd name="connsiteX143" fmla="*/ 1109253 w 2773132"/>
                <a:gd name="connsiteY143" fmla="*/ 1996675 h 2772242"/>
                <a:gd name="connsiteX144" fmla="*/ 998459 w 2773132"/>
                <a:gd name="connsiteY144" fmla="*/ 1996675 h 2772242"/>
                <a:gd name="connsiteX145" fmla="*/ 887666 w 2773132"/>
                <a:gd name="connsiteY145" fmla="*/ 1996675 h 2772242"/>
                <a:gd name="connsiteX146" fmla="*/ 776873 w 2773132"/>
                <a:gd name="connsiteY146" fmla="*/ 1996675 h 2772242"/>
                <a:gd name="connsiteX147" fmla="*/ 776873 w 2773132"/>
                <a:gd name="connsiteY147" fmla="*/ 1885785 h 2772242"/>
                <a:gd name="connsiteX148" fmla="*/ 887666 w 2773132"/>
                <a:gd name="connsiteY148" fmla="*/ 1885785 h 2772242"/>
                <a:gd name="connsiteX149" fmla="*/ 998459 w 2773132"/>
                <a:gd name="connsiteY149" fmla="*/ 1885785 h 2772242"/>
                <a:gd name="connsiteX150" fmla="*/ 998459 w 2773132"/>
                <a:gd name="connsiteY150" fmla="*/ 1774896 h 2772242"/>
                <a:gd name="connsiteX151" fmla="*/ 998459 w 2773132"/>
                <a:gd name="connsiteY151" fmla="*/ 1664996 h 2772242"/>
                <a:gd name="connsiteX152" fmla="*/ 887666 w 2773132"/>
                <a:gd name="connsiteY152" fmla="*/ 1664996 h 2772242"/>
                <a:gd name="connsiteX153" fmla="*/ 776873 w 2773132"/>
                <a:gd name="connsiteY153" fmla="*/ 1664996 h 2772242"/>
                <a:gd name="connsiteX154" fmla="*/ 776873 w 2773132"/>
                <a:gd name="connsiteY154" fmla="*/ 1554106 h 2772242"/>
                <a:gd name="connsiteX155" fmla="*/ 887666 w 2773132"/>
                <a:gd name="connsiteY155" fmla="*/ 1554106 h 2772242"/>
                <a:gd name="connsiteX156" fmla="*/ 887666 w 2773132"/>
                <a:gd name="connsiteY156" fmla="*/ 1443216 h 2772242"/>
                <a:gd name="connsiteX157" fmla="*/ 776873 w 2773132"/>
                <a:gd name="connsiteY157" fmla="*/ 1443216 h 2772242"/>
                <a:gd name="connsiteX158" fmla="*/ 776873 w 2773132"/>
                <a:gd name="connsiteY158" fmla="*/ 1332326 h 2772242"/>
                <a:gd name="connsiteX159" fmla="*/ 666079 w 2773132"/>
                <a:gd name="connsiteY159" fmla="*/ 1332326 h 2772242"/>
                <a:gd name="connsiteX160" fmla="*/ 666079 w 2773132"/>
                <a:gd name="connsiteY160" fmla="*/ 1221437 h 2772242"/>
                <a:gd name="connsiteX161" fmla="*/ 776873 w 2773132"/>
                <a:gd name="connsiteY161" fmla="*/ 1221437 h 2772242"/>
                <a:gd name="connsiteX162" fmla="*/ 776873 w 2773132"/>
                <a:gd name="connsiteY162" fmla="*/ 1110547 h 2772242"/>
                <a:gd name="connsiteX163" fmla="*/ 666079 w 2773132"/>
                <a:gd name="connsiteY163" fmla="*/ 1110547 h 2772242"/>
                <a:gd name="connsiteX164" fmla="*/ 666079 w 2773132"/>
                <a:gd name="connsiteY164" fmla="*/ 999658 h 2772242"/>
                <a:gd name="connsiteX165" fmla="*/ 666079 w 2773132"/>
                <a:gd name="connsiteY165" fmla="*/ 888768 h 2772242"/>
                <a:gd name="connsiteX166" fmla="*/ 666079 w 2773132"/>
                <a:gd name="connsiteY166" fmla="*/ 777878 h 2772242"/>
                <a:gd name="connsiteX167" fmla="*/ 776543 w 2773132"/>
                <a:gd name="connsiteY167" fmla="*/ 777878 h 277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2773132" h="2772242">
                  <a:moveTo>
                    <a:pt x="2662009" y="221779"/>
                  </a:moveTo>
                  <a:lnTo>
                    <a:pt x="2551216" y="22177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19787"/>
                  </a:lnTo>
                  <a:lnTo>
                    <a:pt x="0" y="1330676"/>
                  </a:lnTo>
                  <a:lnTo>
                    <a:pt x="0" y="1441566"/>
                  </a:lnTo>
                  <a:lnTo>
                    <a:pt x="0" y="1552456"/>
                  </a:lnTo>
                  <a:lnTo>
                    <a:pt x="0" y="1663346"/>
                  </a:lnTo>
                  <a:lnTo>
                    <a:pt x="0" y="1774235"/>
                  </a:lnTo>
                  <a:lnTo>
                    <a:pt x="0" y="1885125"/>
                  </a:lnTo>
                  <a:lnTo>
                    <a:pt x="0" y="1996015"/>
                  </a:lnTo>
                  <a:lnTo>
                    <a:pt x="0" y="2106905"/>
                  </a:lnTo>
                  <a:lnTo>
                    <a:pt x="0" y="2217794"/>
                  </a:lnTo>
                  <a:lnTo>
                    <a:pt x="0" y="2328684"/>
                  </a:lnTo>
                  <a:lnTo>
                    <a:pt x="0" y="2439573"/>
                  </a:lnTo>
                  <a:lnTo>
                    <a:pt x="110793" y="2439573"/>
                  </a:lnTo>
                  <a:lnTo>
                    <a:pt x="110793" y="2550463"/>
                  </a:lnTo>
                  <a:lnTo>
                    <a:pt x="221587" y="2550463"/>
                  </a:lnTo>
                  <a:lnTo>
                    <a:pt x="221587" y="2661353"/>
                  </a:lnTo>
                  <a:lnTo>
                    <a:pt x="332380" y="2661353"/>
                  </a:lnTo>
                  <a:lnTo>
                    <a:pt x="332380" y="2772243"/>
                  </a:lnTo>
                  <a:lnTo>
                    <a:pt x="443174" y="2772243"/>
                  </a:lnTo>
                  <a:lnTo>
                    <a:pt x="553967" y="2772243"/>
                  </a:lnTo>
                  <a:lnTo>
                    <a:pt x="664760" y="2772243"/>
                  </a:lnTo>
                  <a:lnTo>
                    <a:pt x="775554" y="2772243"/>
                  </a:lnTo>
                  <a:lnTo>
                    <a:pt x="886347" y="2772243"/>
                  </a:lnTo>
                  <a:lnTo>
                    <a:pt x="997140" y="2772243"/>
                  </a:lnTo>
                  <a:lnTo>
                    <a:pt x="1107934" y="2772243"/>
                  </a:lnTo>
                  <a:lnTo>
                    <a:pt x="1220046" y="2772243"/>
                  </a:lnTo>
                  <a:lnTo>
                    <a:pt x="1330840" y="2772243"/>
                  </a:lnTo>
                  <a:lnTo>
                    <a:pt x="1441633" y="2772243"/>
                  </a:lnTo>
                  <a:lnTo>
                    <a:pt x="1552426" y="2772243"/>
                  </a:lnTo>
                  <a:lnTo>
                    <a:pt x="1663220" y="2772243"/>
                  </a:lnTo>
                  <a:lnTo>
                    <a:pt x="1774013" y="2772243"/>
                  </a:lnTo>
                  <a:lnTo>
                    <a:pt x="1884806" y="2772243"/>
                  </a:lnTo>
                  <a:lnTo>
                    <a:pt x="1995600" y="2772243"/>
                  </a:lnTo>
                  <a:lnTo>
                    <a:pt x="2106393" y="2772243"/>
                  </a:lnTo>
                  <a:lnTo>
                    <a:pt x="2217187" y="2772243"/>
                  </a:lnTo>
                  <a:lnTo>
                    <a:pt x="2327980" y="2772243"/>
                  </a:lnTo>
                  <a:lnTo>
                    <a:pt x="2440092" y="2772243"/>
                  </a:lnTo>
                  <a:lnTo>
                    <a:pt x="2440092" y="2661353"/>
                  </a:lnTo>
                  <a:lnTo>
                    <a:pt x="2550886" y="2661353"/>
                  </a:lnTo>
                  <a:lnTo>
                    <a:pt x="2550886" y="2550463"/>
                  </a:lnTo>
                  <a:lnTo>
                    <a:pt x="2661679" y="2550463"/>
                  </a:lnTo>
                  <a:lnTo>
                    <a:pt x="2661679" y="2439573"/>
                  </a:lnTo>
                  <a:lnTo>
                    <a:pt x="2773132" y="2439573"/>
                  </a:lnTo>
                  <a:lnTo>
                    <a:pt x="2773132" y="2328684"/>
                  </a:lnTo>
                  <a:lnTo>
                    <a:pt x="2773132" y="2217794"/>
                  </a:lnTo>
                  <a:lnTo>
                    <a:pt x="2773132" y="2106905"/>
                  </a:lnTo>
                  <a:lnTo>
                    <a:pt x="2773132" y="1998325"/>
                  </a:lnTo>
                  <a:lnTo>
                    <a:pt x="2773132" y="1887435"/>
                  </a:lnTo>
                  <a:lnTo>
                    <a:pt x="2773132" y="1776546"/>
                  </a:lnTo>
                  <a:lnTo>
                    <a:pt x="2773132" y="1664996"/>
                  </a:lnTo>
                  <a:lnTo>
                    <a:pt x="2773132" y="1554106"/>
                  </a:lnTo>
                  <a:lnTo>
                    <a:pt x="2773132" y="1443216"/>
                  </a:lnTo>
                  <a:lnTo>
                    <a:pt x="2773132" y="1332326"/>
                  </a:lnTo>
                  <a:lnTo>
                    <a:pt x="2773132" y="1221437"/>
                  </a:lnTo>
                  <a:lnTo>
                    <a:pt x="2773132" y="1110547"/>
                  </a:lnTo>
                  <a:lnTo>
                    <a:pt x="2773132" y="999658"/>
                  </a:lnTo>
                  <a:lnTo>
                    <a:pt x="2773132" y="888768"/>
                  </a:lnTo>
                  <a:lnTo>
                    <a:pt x="2773132" y="777878"/>
                  </a:lnTo>
                  <a:lnTo>
                    <a:pt x="2773132" y="666988"/>
                  </a:lnTo>
                  <a:lnTo>
                    <a:pt x="2773132" y="556099"/>
                  </a:lnTo>
                  <a:lnTo>
                    <a:pt x="2773132" y="443889"/>
                  </a:lnTo>
                  <a:lnTo>
                    <a:pt x="2773132" y="332999"/>
                  </a:lnTo>
                  <a:lnTo>
                    <a:pt x="2662339" y="332999"/>
                  </a:lnTo>
                  <a:lnTo>
                    <a:pt x="2662339" y="221779"/>
                  </a:lnTo>
                  <a:close/>
                  <a:moveTo>
                    <a:pt x="776543" y="776888"/>
                  </a:moveTo>
                  <a:lnTo>
                    <a:pt x="776543" y="887778"/>
                  </a:lnTo>
                  <a:lnTo>
                    <a:pt x="887336" y="887778"/>
                  </a:lnTo>
                  <a:lnTo>
                    <a:pt x="887336" y="998667"/>
                  </a:lnTo>
                  <a:lnTo>
                    <a:pt x="998130" y="998667"/>
                  </a:lnTo>
                  <a:lnTo>
                    <a:pt x="998130" y="1109557"/>
                  </a:lnTo>
                  <a:lnTo>
                    <a:pt x="1108923" y="1109557"/>
                  </a:lnTo>
                  <a:lnTo>
                    <a:pt x="1108923" y="1220447"/>
                  </a:lnTo>
                  <a:lnTo>
                    <a:pt x="1220046" y="1220447"/>
                  </a:lnTo>
                  <a:lnTo>
                    <a:pt x="1330840" y="1220447"/>
                  </a:lnTo>
                  <a:lnTo>
                    <a:pt x="1330840" y="1109557"/>
                  </a:lnTo>
                  <a:lnTo>
                    <a:pt x="1441633" y="1109557"/>
                  </a:lnTo>
                  <a:lnTo>
                    <a:pt x="1441633" y="998667"/>
                  </a:lnTo>
                  <a:lnTo>
                    <a:pt x="1441633" y="887778"/>
                  </a:lnTo>
                  <a:lnTo>
                    <a:pt x="1552426" y="887778"/>
                  </a:lnTo>
                  <a:lnTo>
                    <a:pt x="1552426" y="776888"/>
                  </a:lnTo>
                  <a:lnTo>
                    <a:pt x="1663220" y="776888"/>
                  </a:lnTo>
                  <a:lnTo>
                    <a:pt x="1774013" y="776888"/>
                  </a:lnTo>
                  <a:lnTo>
                    <a:pt x="1884806" y="776888"/>
                  </a:lnTo>
                  <a:lnTo>
                    <a:pt x="1884806" y="887778"/>
                  </a:lnTo>
                  <a:lnTo>
                    <a:pt x="1995600" y="887778"/>
                  </a:lnTo>
                  <a:lnTo>
                    <a:pt x="2106393" y="887778"/>
                  </a:lnTo>
                  <a:lnTo>
                    <a:pt x="2106393" y="998667"/>
                  </a:lnTo>
                  <a:lnTo>
                    <a:pt x="1995600" y="998667"/>
                  </a:lnTo>
                  <a:lnTo>
                    <a:pt x="1995600" y="1109557"/>
                  </a:lnTo>
                  <a:lnTo>
                    <a:pt x="1884806" y="1109557"/>
                  </a:lnTo>
                  <a:lnTo>
                    <a:pt x="1884806" y="1220447"/>
                  </a:lnTo>
                  <a:lnTo>
                    <a:pt x="1995600" y="1220447"/>
                  </a:lnTo>
                  <a:lnTo>
                    <a:pt x="1995600" y="1331337"/>
                  </a:lnTo>
                  <a:lnTo>
                    <a:pt x="1995600" y="1442226"/>
                  </a:lnTo>
                  <a:lnTo>
                    <a:pt x="1884806" y="1442226"/>
                  </a:lnTo>
                  <a:lnTo>
                    <a:pt x="1884806" y="1553116"/>
                  </a:lnTo>
                  <a:lnTo>
                    <a:pt x="1884806" y="1664005"/>
                  </a:lnTo>
                  <a:lnTo>
                    <a:pt x="1774013" y="1664005"/>
                  </a:lnTo>
                  <a:lnTo>
                    <a:pt x="1774013" y="1774896"/>
                  </a:lnTo>
                  <a:lnTo>
                    <a:pt x="1663220" y="1774896"/>
                  </a:lnTo>
                  <a:lnTo>
                    <a:pt x="1663220" y="1885785"/>
                  </a:lnTo>
                  <a:lnTo>
                    <a:pt x="1552426" y="1885785"/>
                  </a:lnTo>
                  <a:lnTo>
                    <a:pt x="1552426" y="1996675"/>
                  </a:lnTo>
                  <a:lnTo>
                    <a:pt x="1441633" y="1996675"/>
                  </a:lnTo>
                  <a:lnTo>
                    <a:pt x="1330840" y="1996675"/>
                  </a:lnTo>
                  <a:lnTo>
                    <a:pt x="1220046" y="1996675"/>
                  </a:lnTo>
                  <a:lnTo>
                    <a:pt x="1109253" y="1996675"/>
                  </a:lnTo>
                  <a:lnTo>
                    <a:pt x="998459" y="1996675"/>
                  </a:lnTo>
                  <a:lnTo>
                    <a:pt x="887666" y="1996675"/>
                  </a:lnTo>
                  <a:lnTo>
                    <a:pt x="776873" y="1996675"/>
                  </a:lnTo>
                  <a:lnTo>
                    <a:pt x="776873" y="1885785"/>
                  </a:lnTo>
                  <a:lnTo>
                    <a:pt x="887666" y="1885785"/>
                  </a:lnTo>
                  <a:lnTo>
                    <a:pt x="998459" y="1885785"/>
                  </a:lnTo>
                  <a:lnTo>
                    <a:pt x="998459" y="1774896"/>
                  </a:lnTo>
                  <a:lnTo>
                    <a:pt x="998459" y="1664996"/>
                  </a:lnTo>
                  <a:lnTo>
                    <a:pt x="887666" y="1664996"/>
                  </a:lnTo>
                  <a:lnTo>
                    <a:pt x="776873" y="1664996"/>
                  </a:lnTo>
                  <a:lnTo>
                    <a:pt x="776873" y="1554106"/>
                  </a:lnTo>
                  <a:lnTo>
                    <a:pt x="887666" y="1554106"/>
                  </a:lnTo>
                  <a:lnTo>
                    <a:pt x="887666" y="1443216"/>
                  </a:lnTo>
                  <a:lnTo>
                    <a:pt x="776873" y="1443216"/>
                  </a:lnTo>
                  <a:lnTo>
                    <a:pt x="776873" y="1332326"/>
                  </a:lnTo>
                  <a:lnTo>
                    <a:pt x="666079" y="1332326"/>
                  </a:lnTo>
                  <a:lnTo>
                    <a:pt x="666079" y="1221437"/>
                  </a:lnTo>
                  <a:lnTo>
                    <a:pt x="776873" y="1221437"/>
                  </a:lnTo>
                  <a:lnTo>
                    <a:pt x="776873" y="1110547"/>
                  </a:lnTo>
                  <a:lnTo>
                    <a:pt x="666079" y="1110547"/>
                  </a:lnTo>
                  <a:lnTo>
                    <a:pt x="666079" y="999658"/>
                  </a:lnTo>
                  <a:lnTo>
                    <a:pt x="666079" y="888768"/>
                  </a:lnTo>
                  <a:lnTo>
                    <a:pt x="666079" y="777878"/>
                  </a:lnTo>
                  <a:lnTo>
                    <a:pt x="776543" y="777878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910CEE-BB6E-71AC-391F-4761124E5112}"/>
              </a:ext>
            </a:extLst>
          </p:cNvPr>
          <p:cNvGrpSpPr/>
          <p:nvPr/>
        </p:nvGrpSpPr>
        <p:grpSpPr>
          <a:xfrm>
            <a:off x="994023" y="2124210"/>
            <a:ext cx="670848" cy="671430"/>
            <a:chOff x="-3669270" y="-126010"/>
            <a:chExt cx="2773132" cy="2775542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54070B9-36C9-3F3D-7CF9-2B96879268C0}"/>
                </a:ext>
              </a:extLst>
            </p:cNvPr>
            <p:cNvSpPr/>
            <p:nvPr/>
          </p:nvSpPr>
          <p:spPr>
            <a:xfrm>
              <a:off x="-2449223" y="1095096"/>
              <a:ext cx="998459" cy="999327"/>
            </a:xfrm>
            <a:custGeom>
              <a:avLst/>
              <a:gdLst>
                <a:gd name="connsiteX0" fmla="*/ 887336 w 998459"/>
                <a:gd name="connsiteY0" fmla="*/ 222109 h 999327"/>
                <a:gd name="connsiteX1" fmla="*/ 887336 w 998459"/>
                <a:gd name="connsiteY1" fmla="*/ 111220 h 999327"/>
                <a:gd name="connsiteX2" fmla="*/ 776543 w 998459"/>
                <a:gd name="connsiteY2" fmla="*/ 111220 h 999327"/>
                <a:gd name="connsiteX3" fmla="*/ 776543 w 998459"/>
                <a:gd name="connsiteY3" fmla="*/ 0 h 999327"/>
                <a:gd name="connsiteX4" fmla="*/ 665420 w 998459"/>
                <a:gd name="connsiteY4" fmla="*/ 0 h 999327"/>
                <a:gd name="connsiteX5" fmla="*/ 554626 w 998459"/>
                <a:gd name="connsiteY5" fmla="*/ 0 h 999327"/>
                <a:gd name="connsiteX6" fmla="*/ 443833 w 998459"/>
                <a:gd name="connsiteY6" fmla="*/ 0 h 999327"/>
                <a:gd name="connsiteX7" fmla="*/ 443833 w 998459"/>
                <a:gd name="connsiteY7" fmla="*/ 111220 h 999327"/>
                <a:gd name="connsiteX8" fmla="*/ 332710 w 998459"/>
                <a:gd name="connsiteY8" fmla="*/ 111220 h 999327"/>
                <a:gd name="connsiteX9" fmla="*/ 332710 w 998459"/>
                <a:gd name="connsiteY9" fmla="*/ 0 h 999327"/>
                <a:gd name="connsiteX10" fmla="*/ 221916 w 998459"/>
                <a:gd name="connsiteY10" fmla="*/ 0 h 999327"/>
                <a:gd name="connsiteX11" fmla="*/ 111123 w 998459"/>
                <a:gd name="connsiteY11" fmla="*/ 0 h 999327"/>
                <a:gd name="connsiteX12" fmla="*/ 0 w 998459"/>
                <a:gd name="connsiteY12" fmla="*/ 0 h 999327"/>
                <a:gd name="connsiteX13" fmla="*/ 0 w 998459"/>
                <a:gd name="connsiteY13" fmla="*/ 111220 h 999327"/>
                <a:gd name="connsiteX14" fmla="*/ 0 w 998459"/>
                <a:gd name="connsiteY14" fmla="*/ 222109 h 999327"/>
                <a:gd name="connsiteX15" fmla="*/ 0 w 998459"/>
                <a:gd name="connsiteY15" fmla="*/ 332999 h 999327"/>
                <a:gd name="connsiteX16" fmla="*/ 0 w 998459"/>
                <a:gd name="connsiteY16" fmla="*/ 444219 h 999327"/>
                <a:gd name="connsiteX17" fmla="*/ 0 w 998459"/>
                <a:gd name="connsiteY17" fmla="*/ 555109 h 999327"/>
                <a:gd name="connsiteX18" fmla="*/ 0 w 998459"/>
                <a:gd name="connsiteY18" fmla="*/ 665998 h 999327"/>
                <a:gd name="connsiteX19" fmla="*/ 0 w 998459"/>
                <a:gd name="connsiteY19" fmla="*/ 777218 h 999327"/>
                <a:gd name="connsiteX20" fmla="*/ 0 w 998459"/>
                <a:gd name="connsiteY20" fmla="*/ 888108 h 999327"/>
                <a:gd name="connsiteX21" fmla="*/ 0 w 998459"/>
                <a:gd name="connsiteY21" fmla="*/ 999327 h 999327"/>
                <a:gd name="connsiteX22" fmla="*/ 111123 w 998459"/>
                <a:gd name="connsiteY22" fmla="*/ 999327 h 999327"/>
                <a:gd name="connsiteX23" fmla="*/ 221916 w 998459"/>
                <a:gd name="connsiteY23" fmla="*/ 999327 h 999327"/>
                <a:gd name="connsiteX24" fmla="*/ 332710 w 998459"/>
                <a:gd name="connsiteY24" fmla="*/ 999327 h 999327"/>
                <a:gd name="connsiteX25" fmla="*/ 332710 w 998459"/>
                <a:gd name="connsiteY25" fmla="*/ 888108 h 999327"/>
                <a:gd name="connsiteX26" fmla="*/ 332710 w 998459"/>
                <a:gd name="connsiteY26" fmla="*/ 777218 h 999327"/>
                <a:gd name="connsiteX27" fmla="*/ 332710 w 998459"/>
                <a:gd name="connsiteY27" fmla="*/ 665998 h 999327"/>
                <a:gd name="connsiteX28" fmla="*/ 332710 w 998459"/>
                <a:gd name="connsiteY28" fmla="*/ 555109 h 999327"/>
                <a:gd name="connsiteX29" fmla="*/ 332710 w 998459"/>
                <a:gd name="connsiteY29" fmla="*/ 444219 h 999327"/>
                <a:gd name="connsiteX30" fmla="*/ 332710 w 998459"/>
                <a:gd name="connsiteY30" fmla="*/ 332999 h 999327"/>
                <a:gd name="connsiteX31" fmla="*/ 443833 w 998459"/>
                <a:gd name="connsiteY31" fmla="*/ 332999 h 999327"/>
                <a:gd name="connsiteX32" fmla="*/ 443833 w 998459"/>
                <a:gd name="connsiteY32" fmla="*/ 222109 h 999327"/>
                <a:gd name="connsiteX33" fmla="*/ 554626 w 998459"/>
                <a:gd name="connsiteY33" fmla="*/ 222109 h 999327"/>
                <a:gd name="connsiteX34" fmla="*/ 665420 w 998459"/>
                <a:gd name="connsiteY34" fmla="*/ 222109 h 999327"/>
                <a:gd name="connsiteX35" fmla="*/ 665420 w 998459"/>
                <a:gd name="connsiteY35" fmla="*/ 332999 h 999327"/>
                <a:gd name="connsiteX36" fmla="*/ 776543 w 998459"/>
                <a:gd name="connsiteY36" fmla="*/ 332999 h 999327"/>
                <a:gd name="connsiteX37" fmla="*/ 776543 w 998459"/>
                <a:gd name="connsiteY37" fmla="*/ 444219 h 999327"/>
                <a:gd name="connsiteX38" fmla="*/ 776543 w 998459"/>
                <a:gd name="connsiteY38" fmla="*/ 555109 h 999327"/>
                <a:gd name="connsiteX39" fmla="*/ 776543 w 998459"/>
                <a:gd name="connsiteY39" fmla="*/ 665998 h 999327"/>
                <a:gd name="connsiteX40" fmla="*/ 776543 w 998459"/>
                <a:gd name="connsiteY40" fmla="*/ 777218 h 999327"/>
                <a:gd name="connsiteX41" fmla="*/ 776543 w 998459"/>
                <a:gd name="connsiteY41" fmla="*/ 888108 h 999327"/>
                <a:gd name="connsiteX42" fmla="*/ 776543 w 998459"/>
                <a:gd name="connsiteY42" fmla="*/ 999327 h 999327"/>
                <a:gd name="connsiteX43" fmla="*/ 887336 w 998459"/>
                <a:gd name="connsiteY43" fmla="*/ 999327 h 999327"/>
                <a:gd name="connsiteX44" fmla="*/ 998459 w 998459"/>
                <a:gd name="connsiteY44" fmla="*/ 999327 h 999327"/>
                <a:gd name="connsiteX45" fmla="*/ 998459 w 998459"/>
                <a:gd name="connsiteY45" fmla="*/ 888108 h 999327"/>
                <a:gd name="connsiteX46" fmla="*/ 998459 w 998459"/>
                <a:gd name="connsiteY46" fmla="*/ 777218 h 999327"/>
                <a:gd name="connsiteX47" fmla="*/ 998459 w 998459"/>
                <a:gd name="connsiteY47" fmla="*/ 665998 h 999327"/>
                <a:gd name="connsiteX48" fmla="*/ 998459 w 998459"/>
                <a:gd name="connsiteY48" fmla="*/ 555109 h 999327"/>
                <a:gd name="connsiteX49" fmla="*/ 998459 w 998459"/>
                <a:gd name="connsiteY49" fmla="*/ 444219 h 999327"/>
                <a:gd name="connsiteX50" fmla="*/ 998459 w 998459"/>
                <a:gd name="connsiteY50" fmla="*/ 332999 h 999327"/>
                <a:gd name="connsiteX51" fmla="*/ 998459 w 998459"/>
                <a:gd name="connsiteY51" fmla="*/ 222109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98459" h="999327">
                  <a:moveTo>
                    <a:pt x="887336" y="222109"/>
                  </a:moveTo>
                  <a:lnTo>
                    <a:pt x="887336" y="111220"/>
                  </a:lnTo>
                  <a:lnTo>
                    <a:pt x="776543" y="111220"/>
                  </a:lnTo>
                  <a:lnTo>
                    <a:pt x="776543" y="0"/>
                  </a:lnTo>
                  <a:lnTo>
                    <a:pt x="665420" y="0"/>
                  </a:lnTo>
                  <a:lnTo>
                    <a:pt x="554626" y="0"/>
                  </a:lnTo>
                  <a:lnTo>
                    <a:pt x="443833" y="0"/>
                  </a:lnTo>
                  <a:lnTo>
                    <a:pt x="443833" y="111220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6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lnTo>
                    <a:pt x="221916" y="999327"/>
                  </a:ln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443833" y="332999"/>
                  </a:lnTo>
                  <a:lnTo>
                    <a:pt x="443833" y="222109"/>
                  </a:lnTo>
                  <a:lnTo>
                    <a:pt x="554626" y="222109"/>
                  </a:lnTo>
                  <a:lnTo>
                    <a:pt x="665420" y="222109"/>
                  </a:lnTo>
                  <a:lnTo>
                    <a:pt x="665420" y="332999"/>
                  </a:lnTo>
                  <a:lnTo>
                    <a:pt x="776543" y="332999"/>
                  </a:lnTo>
                  <a:lnTo>
                    <a:pt x="776543" y="444219"/>
                  </a:lnTo>
                  <a:lnTo>
                    <a:pt x="776543" y="555109"/>
                  </a:lnTo>
                  <a:lnTo>
                    <a:pt x="776543" y="665998"/>
                  </a:lnTo>
                  <a:lnTo>
                    <a:pt x="776543" y="777218"/>
                  </a:lnTo>
                  <a:lnTo>
                    <a:pt x="776543" y="888108"/>
                  </a:lnTo>
                  <a:lnTo>
                    <a:pt x="776543" y="999327"/>
                  </a:lnTo>
                  <a:lnTo>
                    <a:pt x="887336" y="999327"/>
                  </a:lnTo>
                  <a:lnTo>
                    <a:pt x="998459" y="999327"/>
                  </a:lnTo>
                  <a:lnTo>
                    <a:pt x="998459" y="888108"/>
                  </a:lnTo>
                  <a:lnTo>
                    <a:pt x="998459" y="777218"/>
                  </a:lnTo>
                  <a:lnTo>
                    <a:pt x="998459" y="665998"/>
                  </a:lnTo>
                  <a:lnTo>
                    <a:pt x="998459" y="555109"/>
                  </a:lnTo>
                  <a:lnTo>
                    <a:pt x="998459" y="444219"/>
                  </a:lnTo>
                  <a:lnTo>
                    <a:pt x="998459" y="332999"/>
                  </a:lnTo>
                  <a:lnTo>
                    <a:pt x="998459" y="22210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9F42EC-620D-3F73-73AE-1689FC6F7146}"/>
                </a:ext>
              </a:extLst>
            </p:cNvPr>
            <p:cNvSpPr/>
            <p:nvPr/>
          </p:nvSpPr>
          <p:spPr>
            <a:xfrm>
              <a:off x="-3003850" y="1095096"/>
              <a:ext cx="332709" cy="999327"/>
            </a:xfrm>
            <a:custGeom>
              <a:avLst/>
              <a:gdLst>
                <a:gd name="connsiteX0" fmla="*/ 221917 w 332709"/>
                <a:gd name="connsiteY0" fmla="*/ 999327 h 999327"/>
                <a:gd name="connsiteX1" fmla="*/ 332710 w 332709"/>
                <a:gd name="connsiteY1" fmla="*/ 999327 h 999327"/>
                <a:gd name="connsiteX2" fmla="*/ 332710 w 332709"/>
                <a:gd name="connsiteY2" fmla="*/ 888108 h 999327"/>
                <a:gd name="connsiteX3" fmla="*/ 332710 w 332709"/>
                <a:gd name="connsiteY3" fmla="*/ 777218 h 999327"/>
                <a:gd name="connsiteX4" fmla="*/ 332710 w 332709"/>
                <a:gd name="connsiteY4" fmla="*/ 665998 h 999327"/>
                <a:gd name="connsiteX5" fmla="*/ 332710 w 332709"/>
                <a:gd name="connsiteY5" fmla="*/ 555109 h 999327"/>
                <a:gd name="connsiteX6" fmla="*/ 332710 w 332709"/>
                <a:gd name="connsiteY6" fmla="*/ 444219 h 999327"/>
                <a:gd name="connsiteX7" fmla="*/ 332710 w 332709"/>
                <a:gd name="connsiteY7" fmla="*/ 332999 h 999327"/>
                <a:gd name="connsiteX8" fmla="*/ 332710 w 332709"/>
                <a:gd name="connsiteY8" fmla="*/ 222109 h 999327"/>
                <a:gd name="connsiteX9" fmla="*/ 332710 w 332709"/>
                <a:gd name="connsiteY9" fmla="*/ 111220 h 999327"/>
                <a:gd name="connsiteX10" fmla="*/ 332710 w 332709"/>
                <a:gd name="connsiteY10" fmla="*/ 0 h 999327"/>
                <a:gd name="connsiteX11" fmla="*/ 221917 w 332709"/>
                <a:gd name="connsiteY11" fmla="*/ 0 h 999327"/>
                <a:gd name="connsiteX12" fmla="*/ 111123 w 332709"/>
                <a:gd name="connsiteY12" fmla="*/ 0 h 999327"/>
                <a:gd name="connsiteX13" fmla="*/ 0 w 332709"/>
                <a:gd name="connsiteY13" fmla="*/ 0 h 999327"/>
                <a:gd name="connsiteX14" fmla="*/ 0 w 332709"/>
                <a:gd name="connsiteY14" fmla="*/ 111220 h 999327"/>
                <a:gd name="connsiteX15" fmla="*/ 0 w 332709"/>
                <a:gd name="connsiteY15" fmla="*/ 222109 h 999327"/>
                <a:gd name="connsiteX16" fmla="*/ 0 w 332709"/>
                <a:gd name="connsiteY16" fmla="*/ 332999 h 999327"/>
                <a:gd name="connsiteX17" fmla="*/ 0 w 332709"/>
                <a:gd name="connsiteY17" fmla="*/ 444219 h 999327"/>
                <a:gd name="connsiteX18" fmla="*/ 0 w 332709"/>
                <a:gd name="connsiteY18" fmla="*/ 555109 h 999327"/>
                <a:gd name="connsiteX19" fmla="*/ 0 w 332709"/>
                <a:gd name="connsiteY19" fmla="*/ 665998 h 999327"/>
                <a:gd name="connsiteX20" fmla="*/ 0 w 332709"/>
                <a:gd name="connsiteY20" fmla="*/ 777218 h 999327"/>
                <a:gd name="connsiteX21" fmla="*/ 0 w 332709"/>
                <a:gd name="connsiteY21" fmla="*/ 888108 h 999327"/>
                <a:gd name="connsiteX22" fmla="*/ 0 w 332709"/>
                <a:gd name="connsiteY22" fmla="*/ 999327 h 999327"/>
                <a:gd name="connsiteX23" fmla="*/ 111123 w 332709"/>
                <a:gd name="connsiteY23" fmla="*/ 999327 h 9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2709" h="999327">
                  <a:moveTo>
                    <a:pt x="221917" y="999327"/>
                  </a:moveTo>
                  <a:lnTo>
                    <a:pt x="332710" y="999327"/>
                  </a:lnTo>
                  <a:lnTo>
                    <a:pt x="332710" y="888108"/>
                  </a:lnTo>
                  <a:lnTo>
                    <a:pt x="332710" y="777218"/>
                  </a:lnTo>
                  <a:lnTo>
                    <a:pt x="332710" y="665998"/>
                  </a:lnTo>
                  <a:lnTo>
                    <a:pt x="332710" y="555109"/>
                  </a:lnTo>
                  <a:lnTo>
                    <a:pt x="332710" y="444219"/>
                  </a:ln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0" y="444219"/>
                  </a:lnTo>
                  <a:lnTo>
                    <a:pt x="0" y="555109"/>
                  </a:lnTo>
                  <a:lnTo>
                    <a:pt x="0" y="665998"/>
                  </a:lnTo>
                  <a:lnTo>
                    <a:pt x="0" y="777218"/>
                  </a:lnTo>
                  <a:lnTo>
                    <a:pt x="0" y="888108"/>
                  </a:lnTo>
                  <a:lnTo>
                    <a:pt x="0" y="999327"/>
                  </a:lnTo>
                  <a:lnTo>
                    <a:pt x="111123" y="999327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1C8C9F2-F26C-1C64-B5B8-E2A195999BFE}"/>
                </a:ext>
              </a:extLst>
            </p:cNvPr>
            <p:cNvSpPr/>
            <p:nvPr/>
          </p:nvSpPr>
          <p:spPr>
            <a:xfrm>
              <a:off x="-3003850" y="539988"/>
              <a:ext cx="332709" cy="332999"/>
            </a:xfrm>
            <a:custGeom>
              <a:avLst/>
              <a:gdLst>
                <a:gd name="connsiteX0" fmla="*/ 221917 w 332709"/>
                <a:gd name="connsiteY0" fmla="*/ 332999 h 332999"/>
                <a:gd name="connsiteX1" fmla="*/ 332710 w 332709"/>
                <a:gd name="connsiteY1" fmla="*/ 332999 h 332999"/>
                <a:gd name="connsiteX2" fmla="*/ 332710 w 332709"/>
                <a:gd name="connsiteY2" fmla="*/ 222109 h 332999"/>
                <a:gd name="connsiteX3" fmla="*/ 332710 w 332709"/>
                <a:gd name="connsiteY3" fmla="*/ 111220 h 332999"/>
                <a:gd name="connsiteX4" fmla="*/ 332710 w 332709"/>
                <a:gd name="connsiteY4" fmla="*/ 0 h 332999"/>
                <a:gd name="connsiteX5" fmla="*/ 221917 w 332709"/>
                <a:gd name="connsiteY5" fmla="*/ 0 h 332999"/>
                <a:gd name="connsiteX6" fmla="*/ 111123 w 332709"/>
                <a:gd name="connsiteY6" fmla="*/ 0 h 332999"/>
                <a:gd name="connsiteX7" fmla="*/ 0 w 332709"/>
                <a:gd name="connsiteY7" fmla="*/ 0 h 332999"/>
                <a:gd name="connsiteX8" fmla="*/ 0 w 332709"/>
                <a:gd name="connsiteY8" fmla="*/ 111220 h 332999"/>
                <a:gd name="connsiteX9" fmla="*/ 0 w 332709"/>
                <a:gd name="connsiteY9" fmla="*/ 222109 h 332999"/>
                <a:gd name="connsiteX10" fmla="*/ 0 w 332709"/>
                <a:gd name="connsiteY10" fmla="*/ 332999 h 332999"/>
                <a:gd name="connsiteX11" fmla="*/ 111123 w 332709"/>
                <a:gd name="connsiteY11" fmla="*/ 332999 h 33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2709" h="332999">
                  <a:moveTo>
                    <a:pt x="221917" y="332999"/>
                  </a:moveTo>
                  <a:lnTo>
                    <a:pt x="332710" y="332999"/>
                  </a:lnTo>
                  <a:lnTo>
                    <a:pt x="332710" y="222109"/>
                  </a:lnTo>
                  <a:lnTo>
                    <a:pt x="332710" y="111220"/>
                  </a:lnTo>
                  <a:lnTo>
                    <a:pt x="332710" y="0"/>
                  </a:lnTo>
                  <a:lnTo>
                    <a:pt x="221917" y="0"/>
                  </a:lnTo>
                  <a:lnTo>
                    <a:pt x="111123" y="0"/>
                  </a:lnTo>
                  <a:lnTo>
                    <a:pt x="0" y="0"/>
                  </a:lnTo>
                  <a:lnTo>
                    <a:pt x="0" y="111220"/>
                  </a:lnTo>
                  <a:lnTo>
                    <a:pt x="0" y="222109"/>
                  </a:lnTo>
                  <a:lnTo>
                    <a:pt x="0" y="332999"/>
                  </a:lnTo>
                  <a:lnTo>
                    <a:pt x="111123" y="332999"/>
                  </a:lnTo>
                  <a:close/>
                </a:path>
              </a:pathLst>
            </a:custGeom>
            <a:solidFill>
              <a:srgbClr val="FFFFFF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2E64266-4D00-D16F-C3F2-C347228CC89C}"/>
                </a:ext>
              </a:extLst>
            </p:cNvPr>
            <p:cNvSpPr/>
            <p:nvPr/>
          </p:nvSpPr>
          <p:spPr>
            <a:xfrm>
              <a:off x="-3669270" y="-126010"/>
              <a:ext cx="2773132" cy="2775542"/>
            </a:xfrm>
            <a:custGeom>
              <a:avLst/>
              <a:gdLst>
                <a:gd name="connsiteX0" fmla="*/ 2662009 w 2773132"/>
                <a:gd name="connsiteY0" fmla="*/ 332999 h 2775542"/>
                <a:gd name="connsiteX1" fmla="*/ 2662009 w 2773132"/>
                <a:gd name="connsiteY1" fmla="*/ 222109 h 2775542"/>
                <a:gd name="connsiteX2" fmla="*/ 2551216 w 2773132"/>
                <a:gd name="connsiteY2" fmla="*/ 222109 h 2775542"/>
                <a:gd name="connsiteX3" fmla="*/ 2551216 w 2773132"/>
                <a:gd name="connsiteY3" fmla="*/ 110890 h 2775542"/>
                <a:gd name="connsiteX4" fmla="*/ 2440092 w 2773132"/>
                <a:gd name="connsiteY4" fmla="*/ 110890 h 2775542"/>
                <a:gd name="connsiteX5" fmla="*/ 2440092 w 2773132"/>
                <a:gd name="connsiteY5" fmla="*/ 0 h 2775542"/>
                <a:gd name="connsiteX6" fmla="*/ 2329299 w 2773132"/>
                <a:gd name="connsiteY6" fmla="*/ 0 h 2775542"/>
                <a:gd name="connsiteX7" fmla="*/ 2218506 w 2773132"/>
                <a:gd name="connsiteY7" fmla="*/ 0 h 2775542"/>
                <a:gd name="connsiteX8" fmla="*/ 2107712 w 2773132"/>
                <a:gd name="connsiteY8" fmla="*/ 0 h 2775542"/>
                <a:gd name="connsiteX9" fmla="*/ 1996919 w 2773132"/>
                <a:gd name="connsiteY9" fmla="*/ 0 h 2775542"/>
                <a:gd name="connsiteX10" fmla="*/ 1886126 w 2773132"/>
                <a:gd name="connsiteY10" fmla="*/ 0 h 2775542"/>
                <a:gd name="connsiteX11" fmla="*/ 1775332 w 2773132"/>
                <a:gd name="connsiteY11" fmla="*/ 0 h 2775542"/>
                <a:gd name="connsiteX12" fmla="*/ 1664539 w 2773132"/>
                <a:gd name="connsiteY12" fmla="*/ 0 h 2775542"/>
                <a:gd name="connsiteX13" fmla="*/ 1553745 w 2773132"/>
                <a:gd name="connsiteY13" fmla="*/ 0 h 2775542"/>
                <a:gd name="connsiteX14" fmla="*/ 1442952 w 2773132"/>
                <a:gd name="connsiteY14" fmla="*/ 0 h 2775542"/>
                <a:gd name="connsiteX15" fmla="*/ 1332159 w 2773132"/>
                <a:gd name="connsiteY15" fmla="*/ 0 h 2775542"/>
                <a:gd name="connsiteX16" fmla="*/ 1220046 w 2773132"/>
                <a:gd name="connsiteY16" fmla="*/ 0 h 2775542"/>
                <a:gd name="connsiteX17" fmla="*/ 1109253 w 2773132"/>
                <a:gd name="connsiteY17" fmla="*/ 0 h 2775542"/>
                <a:gd name="connsiteX18" fmla="*/ 998459 w 2773132"/>
                <a:gd name="connsiteY18" fmla="*/ 0 h 2775542"/>
                <a:gd name="connsiteX19" fmla="*/ 887666 w 2773132"/>
                <a:gd name="connsiteY19" fmla="*/ 0 h 2775542"/>
                <a:gd name="connsiteX20" fmla="*/ 776873 w 2773132"/>
                <a:gd name="connsiteY20" fmla="*/ 0 h 2775542"/>
                <a:gd name="connsiteX21" fmla="*/ 666079 w 2773132"/>
                <a:gd name="connsiteY21" fmla="*/ 0 h 2775542"/>
                <a:gd name="connsiteX22" fmla="*/ 555286 w 2773132"/>
                <a:gd name="connsiteY22" fmla="*/ 0 h 2775542"/>
                <a:gd name="connsiteX23" fmla="*/ 444493 w 2773132"/>
                <a:gd name="connsiteY23" fmla="*/ 0 h 2775542"/>
                <a:gd name="connsiteX24" fmla="*/ 333699 w 2773132"/>
                <a:gd name="connsiteY24" fmla="*/ 0 h 2775542"/>
                <a:gd name="connsiteX25" fmla="*/ 333699 w 2773132"/>
                <a:gd name="connsiteY25" fmla="*/ 110890 h 2775542"/>
                <a:gd name="connsiteX26" fmla="*/ 221917 w 2773132"/>
                <a:gd name="connsiteY26" fmla="*/ 110890 h 2775542"/>
                <a:gd name="connsiteX27" fmla="*/ 221917 w 2773132"/>
                <a:gd name="connsiteY27" fmla="*/ 221779 h 2775542"/>
                <a:gd name="connsiteX28" fmla="*/ 110793 w 2773132"/>
                <a:gd name="connsiteY28" fmla="*/ 221779 h 2775542"/>
                <a:gd name="connsiteX29" fmla="*/ 110793 w 2773132"/>
                <a:gd name="connsiteY29" fmla="*/ 332669 h 2775542"/>
                <a:gd name="connsiteX30" fmla="*/ 0 w 2773132"/>
                <a:gd name="connsiteY30" fmla="*/ 332669 h 2775542"/>
                <a:gd name="connsiteX31" fmla="*/ 0 w 2773132"/>
                <a:gd name="connsiteY31" fmla="*/ 443559 h 2775542"/>
                <a:gd name="connsiteX32" fmla="*/ 0 w 2773132"/>
                <a:gd name="connsiteY32" fmla="*/ 554449 h 2775542"/>
                <a:gd name="connsiteX33" fmla="*/ 0 w 2773132"/>
                <a:gd name="connsiteY33" fmla="*/ 665338 h 2775542"/>
                <a:gd name="connsiteX34" fmla="*/ 0 w 2773132"/>
                <a:gd name="connsiteY34" fmla="*/ 776228 h 2775542"/>
                <a:gd name="connsiteX35" fmla="*/ 0 w 2773132"/>
                <a:gd name="connsiteY35" fmla="*/ 887118 h 2775542"/>
                <a:gd name="connsiteX36" fmla="*/ 0 w 2773132"/>
                <a:gd name="connsiteY36" fmla="*/ 998007 h 2775542"/>
                <a:gd name="connsiteX37" fmla="*/ 0 w 2773132"/>
                <a:gd name="connsiteY37" fmla="*/ 1108897 h 2775542"/>
                <a:gd name="connsiteX38" fmla="*/ 0 w 2773132"/>
                <a:gd name="connsiteY38" fmla="*/ 1221107 h 2775542"/>
                <a:gd name="connsiteX39" fmla="*/ 0 w 2773132"/>
                <a:gd name="connsiteY39" fmla="*/ 1331997 h 2775542"/>
                <a:gd name="connsiteX40" fmla="*/ 0 w 2773132"/>
                <a:gd name="connsiteY40" fmla="*/ 1442886 h 2775542"/>
                <a:gd name="connsiteX41" fmla="*/ 0 w 2773132"/>
                <a:gd name="connsiteY41" fmla="*/ 1553776 h 2775542"/>
                <a:gd name="connsiteX42" fmla="*/ 0 w 2773132"/>
                <a:gd name="connsiteY42" fmla="*/ 1664666 h 2775542"/>
                <a:gd name="connsiteX43" fmla="*/ 0 w 2773132"/>
                <a:gd name="connsiteY43" fmla="*/ 1775555 h 2775542"/>
                <a:gd name="connsiteX44" fmla="*/ 0 w 2773132"/>
                <a:gd name="connsiteY44" fmla="*/ 1886445 h 2775542"/>
                <a:gd name="connsiteX45" fmla="*/ 0 w 2773132"/>
                <a:gd name="connsiteY45" fmla="*/ 1997335 h 2775542"/>
                <a:gd name="connsiteX46" fmla="*/ 0 w 2773132"/>
                <a:gd name="connsiteY46" fmla="*/ 2108225 h 2775542"/>
                <a:gd name="connsiteX47" fmla="*/ 0 w 2773132"/>
                <a:gd name="connsiteY47" fmla="*/ 2219114 h 2775542"/>
                <a:gd name="connsiteX48" fmla="*/ 0 w 2773132"/>
                <a:gd name="connsiteY48" fmla="*/ 2330004 h 2775542"/>
                <a:gd name="connsiteX49" fmla="*/ 0 w 2773132"/>
                <a:gd name="connsiteY49" fmla="*/ 2442214 h 2775542"/>
                <a:gd name="connsiteX50" fmla="*/ 110793 w 2773132"/>
                <a:gd name="connsiteY50" fmla="*/ 2442214 h 2775542"/>
                <a:gd name="connsiteX51" fmla="*/ 110793 w 2773132"/>
                <a:gd name="connsiteY51" fmla="*/ 2553103 h 2775542"/>
                <a:gd name="connsiteX52" fmla="*/ 221587 w 2773132"/>
                <a:gd name="connsiteY52" fmla="*/ 2553103 h 2775542"/>
                <a:gd name="connsiteX53" fmla="*/ 221587 w 2773132"/>
                <a:gd name="connsiteY53" fmla="*/ 2663993 h 2775542"/>
                <a:gd name="connsiteX54" fmla="*/ 332380 w 2773132"/>
                <a:gd name="connsiteY54" fmla="*/ 2663993 h 2775542"/>
                <a:gd name="connsiteX55" fmla="*/ 332380 w 2773132"/>
                <a:gd name="connsiteY55" fmla="*/ 2775543 h 2775542"/>
                <a:gd name="connsiteX56" fmla="*/ 443174 w 2773132"/>
                <a:gd name="connsiteY56" fmla="*/ 2775543 h 2775542"/>
                <a:gd name="connsiteX57" fmla="*/ 553967 w 2773132"/>
                <a:gd name="connsiteY57" fmla="*/ 2775543 h 2775542"/>
                <a:gd name="connsiteX58" fmla="*/ 664760 w 2773132"/>
                <a:gd name="connsiteY58" fmla="*/ 2775543 h 2775542"/>
                <a:gd name="connsiteX59" fmla="*/ 775554 w 2773132"/>
                <a:gd name="connsiteY59" fmla="*/ 2775543 h 2775542"/>
                <a:gd name="connsiteX60" fmla="*/ 886347 w 2773132"/>
                <a:gd name="connsiteY60" fmla="*/ 2775543 h 2775542"/>
                <a:gd name="connsiteX61" fmla="*/ 997140 w 2773132"/>
                <a:gd name="connsiteY61" fmla="*/ 2775543 h 2775542"/>
                <a:gd name="connsiteX62" fmla="*/ 1107934 w 2773132"/>
                <a:gd name="connsiteY62" fmla="*/ 2775543 h 2775542"/>
                <a:gd name="connsiteX63" fmla="*/ 1220046 w 2773132"/>
                <a:gd name="connsiteY63" fmla="*/ 2775543 h 2775542"/>
                <a:gd name="connsiteX64" fmla="*/ 1330840 w 2773132"/>
                <a:gd name="connsiteY64" fmla="*/ 2775543 h 2775542"/>
                <a:gd name="connsiteX65" fmla="*/ 1441633 w 2773132"/>
                <a:gd name="connsiteY65" fmla="*/ 2775543 h 2775542"/>
                <a:gd name="connsiteX66" fmla="*/ 1552426 w 2773132"/>
                <a:gd name="connsiteY66" fmla="*/ 2775543 h 2775542"/>
                <a:gd name="connsiteX67" fmla="*/ 1663220 w 2773132"/>
                <a:gd name="connsiteY67" fmla="*/ 2775543 h 2775542"/>
                <a:gd name="connsiteX68" fmla="*/ 1774013 w 2773132"/>
                <a:gd name="connsiteY68" fmla="*/ 2775543 h 2775542"/>
                <a:gd name="connsiteX69" fmla="*/ 1884806 w 2773132"/>
                <a:gd name="connsiteY69" fmla="*/ 2775543 h 2775542"/>
                <a:gd name="connsiteX70" fmla="*/ 1995600 w 2773132"/>
                <a:gd name="connsiteY70" fmla="*/ 2775543 h 2775542"/>
                <a:gd name="connsiteX71" fmla="*/ 2106393 w 2773132"/>
                <a:gd name="connsiteY71" fmla="*/ 2775543 h 2775542"/>
                <a:gd name="connsiteX72" fmla="*/ 2217187 w 2773132"/>
                <a:gd name="connsiteY72" fmla="*/ 2775543 h 2775542"/>
                <a:gd name="connsiteX73" fmla="*/ 2327980 w 2773132"/>
                <a:gd name="connsiteY73" fmla="*/ 2775543 h 2775542"/>
                <a:gd name="connsiteX74" fmla="*/ 2440092 w 2773132"/>
                <a:gd name="connsiteY74" fmla="*/ 2775543 h 2775542"/>
                <a:gd name="connsiteX75" fmla="*/ 2440092 w 2773132"/>
                <a:gd name="connsiteY75" fmla="*/ 2664653 h 2775542"/>
                <a:gd name="connsiteX76" fmla="*/ 2550886 w 2773132"/>
                <a:gd name="connsiteY76" fmla="*/ 2664653 h 2775542"/>
                <a:gd name="connsiteX77" fmla="*/ 2550886 w 2773132"/>
                <a:gd name="connsiteY77" fmla="*/ 2553764 h 2775542"/>
                <a:gd name="connsiteX78" fmla="*/ 2661679 w 2773132"/>
                <a:gd name="connsiteY78" fmla="*/ 2553764 h 2775542"/>
                <a:gd name="connsiteX79" fmla="*/ 2661679 w 2773132"/>
                <a:gd name="connsiteY79" fmla="*/ 2442214 h 2775542"/>
                <a:gd name="connsiteX80" fmla="*/ 2773132 w 2773132"/>
                <a:gd name="connsiteY80" fmla="*/ 2442214 h 2775542"/>
                <a:gd name="connsiteX81" fmla="*/ 2773132 w 2773132"/>
                <a:gd name="connsiteY81" fmla="*/ 2331324 h 2775542"/>
                <a:gd name="connsiteX82" fmla="*/ 2773132 w 2773132"/>
                <a:gd name="connsiteY82" fmla="*/ 2220434 h 2775542"/>
                <a:gd name="connsiteX83" fmla="*/ 2773132 w 2773132"/>
                <a:gd name="connsiteY83" fmla="*/ 2109545 h 2775542"/>
                <a:gd name="connsiteX84" fmla="*/ 2773132 w 2773132"/>
                <a:gd name="connsiteY84" fmla="*/ 1998655 h 2775542"/>
                <a:gd name="connsiteX85" fmla="*/ 2773132 w 2773132"/>
                <a:gd name="connsiteY85" fmla="*/ 1887765 h 2775542"/>
                <a:gd name="connsiteX86" fmla="*/ 2773132 w 2773132"/>
                <a:gd name="connsiteY86" fmla="*/ 1776876 h 2775542"/>
                <a:gd name="connsiteX87" fmla="*/ 2773132 w 2773132"/>
                <a:gd name="connsiteY87" fmla="*/ 1665986 h 2775542"/>
                <a:gd name="connsiteX88" fmla="*/ 2773132 w 2773132"/>
                <a:gd name="connsiteY88" fmla="*/ 1555096 h 2775542"/>
                <a:gd name="connsiteX89" fmla="*/ 2773132 w 2773132"/>
                <a:gd name="connsiteY89" fmla="*/ 1444206 h 2775542"/>
                <a:gd name="connsiteX90" fmla="*/ 2773132 w 2773132"/>
                <a:gd name="connsiteY90" fmla="*/ 1333317 h 2775542"/>
                <a:gd name="connsiteX91" fmla="*/ 2773132 w 2773132"/>
                <a:gd name="connsiteY91" fmla="*/ 1221107 h 2775542"/>
                <a:gd name="connsiteX92" fmla="*/ 2773132 w 2773132"/>
                <a:gd name="connsiteY92" fmla="*/ 1110217 h 2775542"/>
                <a:gd name="connsiteX93" fmla="*/ 2773132 w 2773132"/>
                <a:gd name="connsiteY93" fmla="*/ 999327 h 2775542"/>
                <a:gd name="connsiteX94" fmla="*/ 2773132 w 2773132"/>
                <a:gd name="connsiteY94" fmla="*/ 888438 h 2775542"/>
                <a:gd name="connsiteX95" fmla="*/ 2773132 w 2773132"/>
                <a:gd name="connsiteY95" fmla="*/ 777548 h 2775542"/>
                <a:gd name="connsiteX96" fmla="*/ 2773132 w 2773132"/>
                <a:gd name="connsiteY96" fmla="*/ 666658 h 2775542"/>
                <a:gd name="connsiteX97" fmla="*/ 2773132 w 2773132"/>
                <a:gd name="connsiteY97" fmla="*/ 555769 h 2775542"/>
                <a:gd name="connsiteX98" fmla="*/ 2773132 w 2773132"/>
                <a:gd name="connsiteY98" fmla="*/ 444879 h 2775542"/>
                <a:gd name="connsiteX99" fmla="*/ 2773132 w 2773132"/>
                <a:gd name="connsiteY99" fmla="*/ 333989 h 2775542"/>
                <a:gd name="connsiteX100" fmla="*/ 2662009 w 2773132"/>
                <a:gd name="connsiteY100" fmla="*/ 333989 h 2775542"/>
                <a:gd name="connsiteX101" fmla="*/ 2218506 w 2773132"/>
                <a:gd name="connsiteY101" fmla="*/ 2220434 h 2775542"/>
                <a:gd name="connsiteX102" fmla="*/ 2107712 w 2773132"/>
                <a:gd name="connsiteY102" fmla="*/ 2220434 h 2775542"/>
                <a:gd name="connsiteX103" fmla="*/ 1996919 w 2773132"/>
                <a:gd name="connsiteY103" fmla="*/ 2220434 h 2775542"/>
                <a:gd name="connsiteX104" fmla="*/ 1996919 w 2773132"/>
                <a:gd name="connsiteY104" fmla="*/ 2109545 h 2775542"/>
                <a:gd name="connsiteX105" fmla="*/ 1996919 w 2773132"/>
                <a:gd name="connsiteY105" fmla="*/ 1998655 h 2775542"/>
                <a:gd name="connsiteX106" fmla="*/ 1996919 w 2773132"/>
                <a:gd name="connsiteY106" fmla="*/ 1887765 h 2775542"/>
                <a:gd name="connsiteX107" fmla="*/ 1996919 w 2773132"/>
                <a:gd name="connsiteY107" fmla="*/ 1776876 h 2775542"/>
                <a:gd name="connsiteX108" fmla="*/ 1996919 w 2773132"/>
                <a:gd name="connsiteY108" fmla="*/ 1665986 h 2775542"/>
                <a:gd name="connsiteX109" fmla="*/ 1996919 w 2773132"/>
                <a:gd name="connsiteY109" fmla="*/ 1555096 h 2775542"/>
                <a:gd name="connsiteX110" fmla="*/ 1886126 w 2773132"/>
                <a:gd name="connsiteY110" fmla="*/ 1555096 h 2775542"/>
                <a:gd name="connsiteX111" fmla="*/ 1886126 w 2773132"/>
                <a:gd name="connsiteY111" fmla="*/ 1444206 h 2775542"/>
                <a:gd name="connsiteX112" fmla="*/ 1775332 w 2773132"/>
                <a:gd name="connsiteY112" fmla="*/ 1444206 h 2775542"/>
                <a:gd name="connsiteX113" fmla="*/ 1664539 w 2773132"/>
                <a:gd name="connsiteY113" fmla="*/ 1444206 h 2775542"/>
                <a:gd name="connsiteX114" fmla="*/ 1664539 w 2773132"/>
                <a:gd name="connsiteY114" fmla="*/ 1555096 h 2775542"/>
                <a:gd name="connsiteX115" fmla="*/ 1553745 w 2773132"/>
                <a:gd name="connsiteY115" fmla="*/ 1555096 h 2775542"/>
                <a:gd name="connsiteX116" fmla="*/ 1553745 w 2773132"/>
                <a:gd name="connsiteY116" fmla="*/ 1665986 h 2775542"/>
                <a:gd name="connsiteX117" fmla="*/ 1553745 w 2773132"/>
                <a:gd name="connsiteY117" fmla="*/ 1776876 h 2775542"/>
                <a:gd name="connsiteX118" fmla="*/ 1553745 w 2773132"/>
                <a:gd name="connsiteY118" fmla="*/ 1887765 h 2775542"/>
                <a:gd name="connsiteX119" fmla="*/ 1553745 w 2773132"/>
                <a:gd name="connsiteY119" fmla="*/ 1998655 h 2775542"/>
                <a:gd name="connsiteX120" fmla="*/ 1553745 w 2773132"/>
                <a:gd name="connsiteY120" fmla="*/ 2109545 h 2775542"/>
                <a:gd name="connsiteX121" fmla="*/ 1553745 w 2773132"/>
                <a:gd name="connsiteY121" fmla="*/ 2220434 h 2775542"/>
                <a:gd name="connsiteX122" fmla="*/ 1442952 w 2773132"/>
                <a:gd name="connsiteY122" fmla="*/ 2220434 h 2775542"/>
                <a:gd name="connsiteX123" fmla="*/ 1332159 w 2773132"/>
                <a:gd name="connsiteY123" fmla="*/ 2220434 h 2775542"/>
                <a:gd name="connsiteX124" fmla="*/ 1220046 w 2773132"/>
                <a:gd name="connsiteY124" fmla="*/ 2220434 h 2775542"/>
                <a:gd name="connsiteX125" fmla="*/ 1220046 w 2773132"/>
                <a:gd name="connsiteY125" fmla="*/ 2109545 h 2775542"/>
                <a:gd name="connsiteX126" fmla="*/ 1220046 w 2773132"/>
                <a:gd name="connsiteY126" fmla="*/ 1998655 h 2775542"/>
                <a:gd name="connsiteX127" fmla="*/ 1220046 w 2773132"/>
                <a:gd name="connsiteY127" fmla="*/ 1887765 h 2775542"/>
                <a:gd name="connsiteX128" fmla="*/ 1220046 w 2773132"/>
                <a:gd name="connsiteY128" fmla="*/ 1776876 h 2775542"/>
                <a:gd name="connsiteX129" fmla="*/ 1220046 w 2773132"/>
                <a:gd name="connsiteY129" fmla="*/ 1665986 h 2775542"/>
                <a:gd name="connsiteX130" fmla="*/ 1220046 w 2773132"/>
                <a:gd name="connsiteY130" fmla="*/ 1555096 h 2775542"/>
                <a:gd name="connsiteX131" fmla="*/ 1220046 w 2773132"/>
                <a:gd name="connsiteY131" fmla="*/ 1444206 h 2775542"/>
                <a:gd name="connsiteX132" fmla="*/ 1220046 w 2773132"/>
                <a:gd name="connsiteY132" fmla="*/ 1333317 h 2775542"/>
                <a:gd name="connsiteX133" fmla="*/ 1220046 w 2773132"/>
                <a:gd name="connsiteY133" fmla="*/ 1221107 h 2775542"/>
                <a:gd name="connsiteX134" fmla="*/ 1330840 w 2773132"/>
                <a:gd name="connsiteY134" fmla="*/ 1221107 h 2775542"/>
                <a:gd name="connsiteX135" fmla="*/ 1441633 w 2773132"/>
                <a:gd name="connsiteY135" fmla="*/ 1221107 h 2775542"/>
                <a:gd name="connsiteX136" fmla="*/ 1552426 w 2773132"/>
                <a:gd name="connsiteY136" fmla="*/ 1221107 h 2775542"/>
                <a:gd name="connsiteX137" fmla="*/ 1552426 w 2773132"/>
                <a:gd name="connsiteY137" fmla="*/ 1331997 h 2775542"/>
                <a:gd name="connsiteX138" fmla="*/ 1663220 w 2773132"/>
                <a:gd name="connsiteY138" fmla="*/ 1331997 h 2775542"/>
                <a:gd name="connsiteX139" fmla="*/ 1663220 w 2773132"/>
                <a:gd name="connsiteY139" fmla="*/ 1221107 h 2775542"/>
                <a:gd name="connsiteX140" fmla="*/ 1774013 w 2773132"/>
                <a:gd name="connsiteY140" fmla="*/ 1221107 h 2775542"/>
                <a:gd name="connsiteX141" fmla="*/ 1884806 w 2773132"/>
                <a:gd name="connsiteY141" fmla="*/ 1221107 h 2775542"/>
                <a:gd name="connsiteX142" fmla="*/ 1995600 w 2773132"/>
                <a:gd name="connsiteY142" fmla="*/ 1221107 h 2775542"/>
                <a:gd name="connsiteX143" fmla="*/ 1995600 w 2773132"/>
                <a:gd name="connsiteY143" fmla="*/ 1331997 h 2775542"/>
                <a:gd name="connsiteX144" fmla="*/ 2106393 w 2773132"/>
                <a:gd name="connsiteY144" fmla="*/ 1331997 h 2775542"/>
                <a:gd name="connsiteX145" fmla="*/ 2106393 w 2773132"/>
                <a:gd name="connsiteY145" fmla="*/ 1442886 h 2775542"/>
                <a:gd name="connsiteX146" fmla="*/ 2217187 w 2773132"/>
                <a:gd name="connsiteY146" fmla="*/ 1442886 h 2775542"/>
                <a:gd name="connsiteX147" fmla="*/ 2217187 w 2773132"/>
                <a:gd name="connsiteY147" fmla="*/ 1553776 h 2775542"/>
                <a:gd name="connsiteX148" fmla="*/ 2217187 w 2773132"/>
                <a:gd name="connsiteY148" fmla="*/ 1664666 h 2775542"/>
                <a:gd name="connsiteX149" fmla="*/ 2217187 w 2773132"/>
                <a:gd name="connsiteY149" fmla="*/ 1775555 h 2775542"/>
                <a:gd name="connsiteX150" fmla="*/ 2217187 w 2773132"/>
                <a:gd name="connsiteY150" fmla="*/ 1886445 h 2775542"/>
                <a:gd name="connsiteX151" fmla="*/ 2217187 w 2773132"/>
                <a:gd name="connsiteY151" fmla="*/ 1997335 h 2775542"/>
                <a:gd name="connsiteX152" fmla="*/ 2217187 w 2773132"/>
                <a:gd name="connsiteY152" fmla="*/ 2108225 h 2775542"/>
                <a:gd name="connsiteX153" fmla="*/ 2217187 w 2773132"/>
                <a:gd name="connsiteY153" fmla="*/ 2220434 h 2775542"/>
                <a:gd name="connsiteX154" fmla="*/ 665420 w 2773132"/>
                <a:gd name="connsiteY154" fmla="*/ 665998 h 2775542"/>
                <a:gd name="connsiteX155" fmla="*/ 776213 w 2773132"/>
                <a:gd name="connsiteY155" fmla="*/ 665998 h 2775542"/>
                <a:gd name="connsiteX156" fmla="*/ 887007 w 2773132"/>
                <a:gd name="connsiteY156" fmla="*/ 665998 h 2775542"/>
                <a:gd name="connsiteX157" fmla="*/ 997800 w 2773132"/>
                <a:gd name="connsiteY157" fmla="*/ 665998 h 2775542"/>
                <a:gd name="connsiteX158" fmla="*/ 997800 w 2773132"/>
                <a:gd name="connsiteY158" fmla="*/ 776888 h 2775542"/>
                <a:gd name="connsiteX159" fmla="*/ 997800 w 2773132"/>
                <a:gd name="connsiteY159" fmla="*/ 887778 h 2775542"/>
                <a:gd name="connsiteX160" fmla="*/ 997800 w 2773132"/>
                <a:gd name="connsiteY160" fmla="*/ 998667 h 2775542"/>
                <a:gd name="connsiteX161" fmla="*/ 887007 w 2773132"/>
                <a:gd name="connsiteY161" fmla="*/ 998667 h 2775542"/>
                <a:gd name="connsiteX162" fmla="*/ 776213 w 2773132"/>
                <a:gd name="connsiteY162" fmla="*/ 998667 h 2775542"/>
                <a:gd name="connsiteX163" fmla="*/ 665420 w 2773132"/>
                <a:gd name="connsiteY163" fmla="*/ 998667 h 2775542"/>
                <a:gd name="connsiteX164" fmla="*/ 665420 w 2773132"/>
                <a:gd name="connsiteY164" fmla="*/ 887778 h 2775542"/>
                <a:gd name="connsiteX165" fmla="*/ 665420 w 2773132"/>
                <a:gd name="connsiteY165" fmla="*/ 776888 h 2775542"/>
                <a:gd name="connsiteX166" fmla="*/ 665420 w 2773132"/>
                <a:gd name="connsiteY166" fmla="*/ 665998 h 2775542"/>
                <a:gd name="connsiteX167" fmla="*/ 665420 w 2773132"/>
                <a:gd name="connsiteY167" fmla="*/ 2109215 h 2775542"/>
                <a:gd name="connsiteX168" fmla="*/ 665420 w 2773132"/>
                <a:gd name="connsiteY168" fmla="*/ 1998325 h 2775542"/>
                <a:gd name="connsiteX169" fmla="*/ 665420 w 2773132"/>
                <a:gd name="connsiteY169" fmla="*/ 1887435 h 2775542"/>
                <a:gd name="connsiteX170" fmla="*/ 665420 w 2773132"/>
                <a:gd name="connsiteY170" fmla="*/ 1776545 h 2775542"/>
                <a:gd name="connsiteX171" fmla="*/ 665420 w 2773132"/>
                <a:gd name="connsiteY171" fmla="*/ 1665656 h 2775542"/>
                <a:gd name="connsiteX172" fmla="*/ 665420 w 2773132"/>
                <a:gd name="connsiteY172" fmla="*/ 1554766 h 2775542"/>
                <a:gd name="connsiteX173" fmla="*/ 665420 w 2773132"/>
                <a:gd name="connsiteY173" fmla="*/ 1443876 h 2775542"/>
                <a:gd name="connsiteX174" fmla="*/ 665420 w 2773132"/>
                <a:gd name="connsiteY174" fmla="*/ 1332987 h 2775542"/>
                <a:gd name="connsiteX175" fmla="*/ 665420 w 2773132"/>
                <a:gd name="connsiteY175" fmla="*/ 1221107 h 2775542"/>
                <a:gd name="connsiteX176" fmla="*/ 776213 w 2773132"/>
                <a:gd name="connsiteY176" fmla="*/ 1221107 h 2775542"/>
                <a:gd name="connsiteX177" fmla="*/ 887007 w 2773132"/>
                <a:gd name="connsiteY177" fmla="*/ 1221107 h 2775542"/>
                <a:gd name="connsiteX178" fmla="*/ 997800 w 2773132"/>
                <a:gd name="connsiteY178" fmla="*/ 1221107 h 2775542"/>
                <a:gd name="connsiteX179" fmla="*/ 997800 w 2773132"/>
                <a:gd name="connsiteY179" fmla="*/ 1331997 h 2775542"/>
                <a:gd name="connsiteX180" fmla="*/ 997800 w 2773132"/>
                <a:gd name="connsiteY180" fmla="*/ 1442886 h 2775542"/>
                <a:gd name="connsiteX181" fmla="*/ 997800 w 2773132"/>
                <a:gd name="connsiteY181" fmla="*/ 1553776 h 2775542"/>
                <a:gd name="connsiteX182" fmla="*/ 997800 w 2773132"/>
                <a:gd name="connsiteY182" fmla="*/ 1664666 h 2775542"/>
                <a:gd name="connsiteX183" fmla="*/ 997800 w 2773132"/>
                <a:gd name="connsiteY183" fmla="*/ 1775555 h 2775542"/>
                <a:gd name="connsiteX184" fmla="*/ 997800 w 2773132"/>
                <a:gd name="connsiteY184" fmla="*/ 1886445 h 2775542"/>
                <a:gd name="connsiteX185" fmla="*/ 997800 w 2773132"/>
                <a:gd name="connsiteY185" fmla="*/ 1997335 h 2775542"/>
                <a:gd name="connsiteX186" fmla="*/ 997800 w 2773132"/>
                <a:gd name="connsiteY186" fmla="*/ 2108225 h 2775542"/>
                <a:gd name="connsiteX187" fmla="*/ 997800 w 2773132"/>
                <a:gd name="connsiteY187" fmla="*/ 2219114 h 2775542"/>
                <a:gd name="connsiteX188" fmla="*/ 887007 w 2773132"/>
                <a:gd name="connsiteY188" fmla="*/ 2219114 h 2775542"/>
                <a:gd name="connsiteX189" fmla="*/ 776213 w 2773132"/>
                <a:gd name="connsiteY189" fmla="*/ 2219114 h 2775542"/>
                <a:gd name="connsiteX190" fmla="*/ 665420 w 2773132"/>
                <a:gd name="connsiteY190" fmla="*/ 2219114 h 2775542"/>
                <a:gd name="connsiteX191" fmla="*/ 665420 w 2773132"/>
                <a:gd name="connsiteY191" fmla="*/ 2109215 h 277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2773132" h="2775542">
                  <a:moveTo>
                    <a:pt x="2662009" y="332999"/>
                  </a:moveTo>
                  <a:lnTo>
                    <a:pt x="2662009" y="222109"/>
                  </a:lnTo>
                  <a:lnTo>
                    <a:pt x="2551216" y="222109"/>
                  </a:lnTo>
                  <a:lnTo>
                    <a:pt x="2551216" y="110890"/>
                  </a:lnTo>
                  <a:lnTo>
                    <a:pt x="2440092" y="110890"/>
                  </a:lnTo>
                  <a:lnTo>
                    <a:pt x="2440092" y="0"/>
                  </a:lnTo>
                  <a:lnTo>
                    <a:pt x="2329299" y="0"/>
                  </a:lnTo>
                  <a:lnTo>
                    <a:pt x="2218506" y="0"/>
                  </a:lnTo>
                  <a:lnTo>
                    <a:pt x="2107712" y="0"/>
                  </a:lnTo>
                  <a:lnTo>
                    <a:pt x="1996919" y="0"/>
                  </a:lnTo>
                  <a:lnTo>
                    <a:pt x="1886126" y="0"/>
                  </a:lnTo>
                  <a:lnTo>
                    <a:pt x="1775332" y="0"/>
                  </a:lnTo>
                  <a:lnTo>
                    <a:pt x="1664539" y="0"/>
                  </a:lnTo>
                  <a:lnTo>
                    <a:pt x="1553745" y="0"/>
                  </a:lnTo>
                  <a:lnTo>
                    <a:pt x="1442952" y="0"/>
                  </a:lnTo>
                  <a:lnTo>
                    <a:pt x="1332159" y="0"/>
                  </a:lnTo>
                  <a:lnTo>
                    <a:pt x="1220046" y="0"/>
                  </a:lnTo>
                  <a:lnTo>
                    <a:pt x="1109253" y="0"/>
                  </a:lnTo>
                  <a:lnTo>
                    <a:pt x="998459" y="0"/>
                  </a:lnTo>
                  <a:lnTo>
                    <a:pt x="887666" y="0"/>
                  </a:lnTo>
                  <a:lnTo>
                    <a:pt x="776873" y="0"/>
                  </a:lnTo>
                  <a:lnTo>
                    <a:pt x="666079" y="0"/>
                  </a:lnTo>
                  <a:lnTo>
                    <a:pt x="555286" y="0"/>
                  </a:lnTo>
                  <a:lnTo>
                    <a:pt x="444493" y="0"/>
                  </a:lnTo>
                  <a:lnTo>
                    <a:pt x="333699" y="0"/>
                  </a:lnTo>
                  <a:lnTo>
                    <a:pt x="333699" y="110890"/>
                  </a:lnTo>
                  <a:lnTo>
                    <a:pt x="221917" y="110890"/>
                  </a:lnTo>
                  <a:lnTo>
                    <a:pt x="221917" y="221779"/>
                  </a:lnTo>
                  <a:lnTo>
                    <a:pt x="110793" y="221779"/>
                  </a:lnTo>
                  <a:lnTo>
                    <a:pt x="110793" y="332669"/>
                  </a:lnTo>
                  <a:lnTo>
                    <a:pt x="0" y="332669"/>
                  </a:lnTo>
                  <a:lnTo>
                    <a:pt x="0" y="443559"/>
                  </a:lnTo>
                  <a:lnTo>
                    <a:pt x="0" y="554449"/>
                  </a:lnTo>
                  <a:lnTo>
                    <a:pt x="0" y="665338"/>
                  </a:lnTo>
                  <a:lnTo>
                    <a:pt x="0" y="776228"/>
                  </a:lnTo>
                  <a:lnTo>
                    <a:pt x="0" y="887118"/>
                  </a:lnTo>
                  <a:lnTo>
                    <a:pt x="0" y="998007"/>
                  </a:lnTo>
                  <a:lnTo>
                    <a:pt x="0" y="1108897"/>
                  </a:lnTo>
                  <a:lnTo>
                    <a:pt x="0" y="1221107"/>
                  </a:lnTo>
                  <a:lnTo>
                    <a:pt x="0" y="1331997"/>
                  </a:lnTo>
                  <a:lnTo>
                    <a:pt x="0" y="1442886"/>
                  </a:lnTo>
                  <a:lnTo>
                    <a:pt x="0" y="1553776"/>
                  </a:lnTo>
                  <a:lnTo>
                    <a:pt x="0" y="1664666"/>
                  </a:lnTo>
                  <a:lnTo>
                    <a:pt x="0" y="1775555"/>
                  </a:lnTo>
                  <a:lnTo>
                    <a:pt x="0" y="1886445"/>
                  </a:lnTo>
                  <a:lnTo>
                    <a:pt x="0" y="1997335"/>
                  </a:lnTo>
                  <a:lnTo>
                    <a:pt x="0" y="2108225"/>
                  </a:lnTo>
                  <a:lnTo>
                    <a:pt x="0" y="2219114"/>
                  </a:lnTo>
                  <a:lnTo>
                    <a:pt x="0" y="2330004"/>
                  </a:lnTo>
                  <a:lnTo>
                    <a:pt x="0" y="2442214"/>
                  </a:lnTo>
                  <a:lnTo>
                    <a:pt x="110793" y="2442214"/>
                  </a:lnTo>
                  <a:lnTo>
                    <a:pt x="110793" y="2553103"/>
                  </a:lnTo>
                  <a:lnTo>
                    <a:pt x="221587" y="2553103"/>
                  </a:lnTo>
                  <a:lnTo>
                    <a:pt x="221587" y="2663993"/>
                  </a:lnTo>
                  <a:lnTo>
                    <a:pt x="332380" y="2663993"/>
                  </a:lnTo>
                  <a:lnTo>
                    <a:pt x="332380" y="2775543"/>
                  </a:lnTo>
                  <a:lnTo>
                    <a:pt x="443174" y="2775543"/>
                  </a:lnTo>
                  <a:lnTo>
                    <a:pt x="553967" y="2775543"/>
                  </a:lnTo>
                  <a:lnTo>
                    <a:pt x="664760" y="2775543"/>
                  </a:lnTo>
                  <a:lnTo>
                    <a:pt x="775554" y="2775543"/>
                  </a:lnTo>
                  <a:lnTo>
                    <a:pt x="886347" y="2775543"/>
                  </a:lnTo>
                  <a:lnTo>
                    <a:pt x="997140" y="2775543"/>
                  </a:lnTo>
                  <a:lnTo>
                    <a:pt x="1107934" y="2775543"/>
                  </a:lnTo>
                  <a:lnTo>
                    <a:pt x="1220046" y="2775543"/>
                  </a:lnTo>
                  <a:lnTo>
                    <a:pt x="1330840" y="2775543"/>
                  </a:lnTo>
                  <a:lnTo>
                    <a:pt x="1441633" y="2775543"/>
                  </a:lnTo>
                  <a:lnTo>
                    <a:pt x="1552426" y="2775543"/>
                  </a:lnTo>
                  <a:lnTo>
                    <a:pt x="1663220" y="2775543"/>
                  </a:lnTo>
                  <a:lnTo>
                    <a:pt x="1774013" y="2775543"/>
                  </a:lnTo>
                  <a:lnTo>
                    <a:pt x="1884806" y="2775543"/>
                  </a:lnTo>
                  <a:lnTo>
                    <a:pt x="1995600" y="2775543"/>
                  </a:lnTo>
                  <a:lnTo>
                    <a:pt x="2106393" y="2775543"/>
                  </a:lnTo>
                  <a:lnTo>
                    <a:pt x="2217187" y="2775543"/>
                  </a:lnTo>
                  <a:lnTo>
                    <a:pt x="2327980" y="2775543"/>
                  </a:lnTo>
                  <a:lnTo>
                    <a:pt x="2440092" y="2775543"/>
                  </a:lnTo>
                  <a:lnTo>
                    <a:pt x="2440092" y="2664653"/>
                  </a:lnTo>
                  <a:lnTo>
                    <a:pt x="2550886" y="2664653"/>
                  </a:lnTo>
                  <a:lnTo>
                    <a:pt x="2550886" y="2553764"/>
                  </a:lnTo>
                  <a:lnTo>
                    <a:pt x="2661679" y="2553764"/>
                  </a:lnTo>
                  <a:lnTo>
                    <a:pt x="2661679" y="2442214"/>
                  </a:lnTo>
                  <a:lnTo>
                    <a:pt x="2773132" y="2442214"/>
                  </a:lnTo>
                  <a:lnTo>
                    <a:pt x="2773132" y="2331324"/>
                  </a:lnTo>
                  <a:lnTo>
                    <a:pt x="2773132" y="2220434"/>
                  </a:lnTo>
                  <a:lnTo>
                    <a:pt x="2773132" y="2109545"/>
                  </a:lnTo>
                  <a:lnTo>
                    <a:pt x="2773132" y="1998655"/>
                  </a:lnTo>
                  <a:lnTo>
                    <a:pt x="2773132" y="1887765"/>
                  </a:lnTo>
                  <a:lnTo>
                    <a:pt x="2773132" y="1776876"/>
                  </a:lnTo>
                  <a:lnTo>
                    <a:pt x="2773132" y="1665986"/>
                  </a:lnTo>
                  <a:lnTo>
                    <a:pt x="2773132" y="1555096"/>
                  </a:lnTo>
                  <a:lnTo>
                    <a:pt x="2773132" y="1444206"/>
                  </a:lnTo>
                  <a:lnTo>
                    <a:pt x="2773132" y="1333317"/>
                  </a:lnTo>
                  <a:lnTo>
                    <a:pt x="2773132" y="1221107"/>
                  </a:lnTo>
                  <a:lnTo>
                    <a:pt x="2773132" y="1110217"/>
                  </a:lnTo>
                  <a:lnTo>
                    <a:pt x="2773132" y="999327"/>
                  </a:lnTo>
                  <a:lnTo>
                    <a:pt x="2773132" y="888438"/>
                  </a:lnTo>
                  <a:lnTo>
                    <a:pt x="2773132" y="777548"/>
                  </a:lnTo>
                  <a:lnTo>
                    <a:pt x="2773132" y="666658"/>
                  </a:lnTo>
                  <a:lnTo>
                    <a:pt x="2773132" y="555769"/>
                  </a:lnTo>
                  <a:lnTo>
                    <a:pt x="2773132" y="444879"/>
                  </a:lnTo>
                  <a:lnTo>
                    <a:pt x="2773132" y="333989"/>
                  </a:lnTo>
                  <a:lnTo>
                    <a:pt x="2662009" y="333989"/>
                  </a:lnTo>
                  <a:close/>
                  <a:moveTo>
                    <a:pt x="2218506" y="2220434"/>
                  </a:moveTo>
                  <a:lnTo>
                    <a:pt x="2107712" y="2220434"/>
                  </a:lnTo>
                  <a:lnTo>
                    <a:pt x="1996919" y="2220434"/>
                  </a:lnTo>
                  <a:lnTo>
                    <a:pt x="1996919" y="2109545"/>
                  </a:lnTo>
                  <a:lnTo>
                    <a:pt x="1996919" y="1998655"/>
                  </a:lnTo>
                  <a:lnTo>
                    <a:pt x="1996919" y="1887765"/>
                  </a:lnTo>
                  <a:lnTo>
                    <a:pt x="1996919" y="1776876"/>
                  </a:lnTo>
                  <a:lnTo>
                    <a:pt x="1996919" y="1665986"/>
                  </a:lnTo>
                  <a:lnTo>
                    <a:pt x="1996919" y="1555096"/>
                  </a:lnTo>
                  <a:lnTo>
                    <a:pt x="1886126" y="1555096"/>
                  </a:lnTo>
                  <a:lnTo>
                    <a:pt x="1886126" y="1444206"/>
                  </a:lnTo>
                  <a:lnTo>
                    <a:pt x="1775332" y="1444206"/>
                  </a:lnTo>
                  <a:lnTo>
                    <a:pt x="1664539" y="1444206"/>
                  </a:lnTo>
                  <a:lnTo>
                    <a:pt x="1664539" y="1555096"/>
                  </a:lnTo>
                  <a:lnTo>
                    <a:pt x="1553745" y="1555096"/>
                  </a:lnTo>
                  <a:lnTo>
                    <a:pt x="1553745" y="1665986"/>
                  </a:lnTo>
                  <a:lnTo>
                    <a:pt x="1553745" y="1776876"/>
                  </a:lnTo>
                  <a:lnTo>
                    <a:pt x="1553745" y="1887765"/>
                  </a:lnTo>
                  <a:lnTo>
                    <a:pt x="1553745" y="1998655"/>
                  </a:lnTo>
                  <a:lnTo>
                    <a:pt x="1553745" y="2109545"/>
                  </a:lnTo>
                  <a:lnTo>
                    <a:pt x="1553745" y="2220434"/>
                  </a:lnTo>
                  <a:lnTo>
                    <a:pt x="1442952" y="2220434"/>
                  </a:lnTo>
                  <a:lnTo>
                    <a:pt x="1332159" y="2220434"/>
                  </a:lnTo>
                  <a:lnTo>
                    <a:pt x="1220046" y="2220434"/>
                  </a:lnTo>
                  <a:lnTo>
                    <a:pt x="1220046" y="2109545"/>
                  </a:lnTo>
                  <a:lnTo>
                    <a:pt x="1220046" y="1998655"/>
                  </a:lnTo>
                  <a:lnTo>
                    <a:pt x="1220046" y="1887765"/>
                  </a:lnTo>
                  <a:lnTo>
                    <a:pt x="1220046" y="1776876"/>
                  </a:lnTo>
                  <a:lnTo>
                    <a:pt x="1220046" y="1665986"/>
                  </a:lnTo>
                  <a:lnTo>
                    <a:pt x="1220046" y="1555096"/>
                  </a:lnTo>
                  <a:lnTo>
                    <a:pt x="1220046" y="1444206"/>
                  </a:lnTo>
                  <a:lnTo>
                    <a:pt x="1220046" y="1333317"/>
                  </a:lnTo>
                  <a:lnTo>
                    <a:pt x="1220046" y="1221107"/>
                  </a:lnTo>
                  <a:lnTo>
                    <a:pt x="1330840" y="1221107"/>
                  </a:lnTo>
                  <a:lnTo>
                    <a:pt x="1441633" y="1221107"/>
                  </a:lnTo>
                  <a:lnTo>
                    <a:pt x="1552426" y="1221107"/>
                  </a:lnTo>
                  <a:lnTo>
                    <a:pt x="1552426" y="1331997"/>
                  </a:lnTo>
                  <a:lnTo>
                    <a:pt x="1663220" y="1331997"/>
                  </a:lnTo>
                  <a:lnTo>
                    <a:pt x="1663220" y="1221107"/>
                  </a:lnTo>
                  <a:lnTo>
                    <a:pt x="1774013" y="1221107"/>
                  </a:lnTo>
                  <a:lnTo>
                    <a:pt x="1884806" y="1221107"/>
                  </a:lnTo>
                  <a:lnTo>
                    <a:pt x="1995600" y="1221107"/>
                  </a:lnTo>
                  <a:lnTo>
                    <a:pt x="1995600" y="1331997"/>
                  </a:lnTo>
                  <a:lnTo>
                    <a:pt x="2106393" y="1331997"/>
                  </a:lnTo>
                  <a:lnTo>
                    <a:pt x="2106393" y="1442886"/>
                  </a:lnTo>
                  <a:lnTo>
                    <a:pt x="2217187" y="1442886"/>
                  </a:lnTo>
                  <a:lnTo>
                    <a:pt x="2217187" y="1553776"/>
                  </a:lnTo>
                  <a:lnTo>
                    <a:pt x="2217187" y="1664666"/>
                  </a:lnTo>
                  <a:lnTo>
                    <a:pt x="2217187" y="1775555"/>
                  </a:lnTo>
                  <a:lnTo>
                    <a:pt x="2217187" y="1886445"/>
                  </a:lnTo>
                  <a:lnTo>
                    <a:pt x="2217187" y="1997335"/>
                  </a:lnTo>
                  <a:lnTo>
                    <a:pt x="2217187" y="2108225"/>
                  </a:lnTo>
                  <a:lnTo>
                    <a:pt x="2217187" y="2220434"/>
                  </a:lnTo>
                  <a:close/>
                  <a:moveTo>
                    <a:pt x="665420" y="665998"/>
                  </a:moveTo>
                  <a:lnTo>
                    <a:pt x="776213" y="665998"/>
                  </a:lnTo>
                  <a:lnTo>
                    <a:pt x="887007" y="665998"/>
                  </a:lnTo>
                  <a:lnTo>
                    <a:pt x="997800" y="665998"/>
                  </a:lnTo>
                  <a:lnTo>
                    <a:pt x="997800" y="776888"/>
                  </a:lnTo>
                  <a:lnTo>
                    <a:pt x="997800" y="887778"/>
                  </a:lnTo>
                  <a:lnTo>
                    <a:pt x="997800" y="998667"/>
                  </a:lnTo>
                  <a:lnTo>
                    <a:pt x="887007" y="998667"/>
                  </a:lnTo>
                  <a:lnTo>
                    <a:pt x="776213" y="998667"/>
                  </a:lnTo>
                  <a:lnTo>
                    <a:pt x="665420" y="998667"/>
                  </a:lnTo>
                  <a:lnTo>
                    <a:pt x="665420" y="887778"/>
                  </a:lnTo>
                  <a:lnTo>
                    <a:pt x="665420" y="776888"/>
                  </a:lnTo>
                  <a:lnTo>
                    <a:pt x="665420" y="665998"/>
                  </a:lnTo>
                  <a:close/>
                  <a:moveTo>
                    <a:pt x="665420" y="2109215"/>
                  </a:moveTo>
                  <a:lnTo>
                    <a:pt x="665420" y="1998325"/>
                  </a:lnTo>
                  <a:lnTo>
                    <a:pt x="665420" y="1887435"/>
                  </a:lnTo>
                  <a:lnTo>
                    <a:pt x="665420" y="1776545"/>
                  </a:lnTo>
                  <a:lnTo>
                    <a:pt x="665420" y="1665656"/>
                  </a:lnTo>
                  <a:lnTo>
                    <a:pt x="665420" y="1554766"/>
                  </a:lnTo>
                  <a:lnTo>
                    <a:pt x="665420" y="1443876"/>
                  </a:lnTo>
                  <a:lnTo>
                    <a:pt x="665420" y="1332987"/>
                  </a:lnTo>
                  <a:lnTo>
                    <a:pt x="665420" y="1221107"/>
                  </a:lnTo>
                  <a:lnTo>
                    <a:pt x="776213" y="1221107"/>
                  </a:lnTo>
                  <a:lnTo>
                    <a:pt x="887007" y="1221107"/>
                  </a:lnTo>
                  <a:lnTo>
                    <a:pt x="997800" y="1221107"/>
                  </a:lnTo>
                  <a:lnTo>
                    <a:pt x="997800" y="1331997"/>
                  </a:lnTo>
                  <a:lnTo>
                    <a:pt x="997800" y="1442886"/>
                  </a:lnTo>
                  <a:lnTo>
                    <a:pt x="997800" y="1553776"/>
                  </a:lnTo>
                  <a:lnTo>
                    <a:pt x="997800" y="1664666"/>
                  </a:lnTo>
                  <a:lnTo>
                    <a:pt x="997800" y="1775555"/>
                  </a:lnTo>
                  <a:lnTo>
                    <a:pt x="997800" y="1886445"/>
                  </a:lnTo>
                  <a:lnTo>
                    <a:pt x="997800" y="1997335"/>
                  </a:lnTo>
                  <a:lnTo>
                    <a:pt x="997800" y="2108225"/>
                  </a:lnTo>
                  <a:lnTo>
                    <a:pt x="997800" y="2219114"/>
                  </a:lnTo>
                  <a:lnTo>
                    <a:pt x="887007" y="2219114"/>
                  </a:lnTo>
                  <a:lnTo>
                    <a:pt x="776213" y="2219114"/>
                  </a:lnTo>
                  <a:lnTo>
                    <a:pt x="665420" y="2219114"/>
                  </a:lnTo>
                  <a:lnTo>
                    <a:pt x="665420" y="2109215"/>
                  </a:lnTo>
                  <a:close/>
                </a:path>
              </a:pathLst>
            </a:custGeom>
            <a:solidFill>
              <a:srgbClr val="231F20"/>
            </a:solidFill>
            <a:ln w="32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600" dirty="0"/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DA2B7C11-5FC4-B047-5F69-D2B8B392910C}"/>
              </a:ext>
            </a:extLst>
          </p:cNvPr>
          <p:cNvGrpSpPr/>
          <p:nvPr/>
        </p:nvGrpSpPr>
        <p:grpSpPr>
          <a:xfrm>
            <a:off x="993702" y="4678861"/>
            <a:ext cx="671487" cy="671487"/>
            <a:chOff x="-3816001" y="3357146"/>
            <a:chExt cx="849600" cy="849600"/>
          </a:xfrm>
        </p:grpSpPr>
        <p:grpSp>
          <p:nvGrpSpPr>
            <p:cNvPr id="37" name="Graphic 34">
              <a:extLst>
                <a:ext uri="{FF2B5EF4-FFF2-40B4-BE49-F238E27FC236}">
                  <a16:creationId xmlns:a16="http://schemas.microsoft.com/office/drawing/2014/main" id="{41A58DF9-1E67-C2A6-7F25-D984EFFB5FFF}"/>
                </a:ext>
              </a:extLst>
            </p:cNvPr>
            <p:cNvGrpSpPr/>
            <p:nvPr/>
          </p:nvGrpSpPr>
          <p:grpSpPr>
            <a:xfrm>
              <a:off x="-3646081" y="3527369"/>
              <a:ext cx="543299" cy="543299"/>
              <a:chOff x="-3646081" y="3527369"/>
              <a:chExt cx="543299" cy="543299"/>
            </a:xfrm>
            <a:solidFill>
              <a:srgbClr val="00FF00"/>
            </a:solidFill>
          </p:grpSpPr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EED6AFA-CDA9-C17F-4244-C2D58EE6E060}"/>
                  </a:ext>
                </a:extLst>
              </p:cNvPr>
              <p:cNvSpPr/>
              <p:nvPr/>
            </p:nvSpPr>
            <p:spPr>
              <a:xfrm>
                <a:off x="-3612036" y="3527369"/>
                <a:ext cx="509254" cy="543299"/>
              </a:xfrm>
              <a:custGeom>
                <a:avLst/>
                <a:gdLst>
                  <a:gd name="connsiteX0" fmla="*/ 475715 w 509254"/>
                  <a:gd name="connsiteY0" fmla="*/ 271549 h 543299"/>
                  <a:gd name="connsiteX1" fmla="*/ 475715 w 509254"/>
                  <a:gd name="connsiteY1" fmla="*/ 237605 h 543299"/>
                  <a:gd name="connsiteX2" fmla="*/ 441772 w 509254"/>
                  <a:gd name="connsiteY2" fmla="*/ 237605 h 543299"/>
                  <a:gd name="connsiteX3" fmla="*/ 407828 w 509254"/>
                  <a:gd name="connsiteY3" fmla="*/ 237605 h 543299"/>
                  <a:gd name="connsiteX4" fmla="*/ 374390 w 509254"/>
                  <a:gd name="connsiteY4" fmla="*/ 237605 h 543299"/>
                  <a:gd name="connsiteX5" fmla="*/ 374390 w 509254"/>
                  <a:gd name="connsiteY5" fmla="*/ 204167 h 543299"/>
                  <a:gd name="connsiteX6" fmla="*/ 374390 w 509254"/>
                  <a:gd name="connsiteY6" fmla="*/ 170223 h 543299"/>
                  <a:gd name="connsiteX7" fmla="*/ 374390 w 509254"/>
                  <a:gd name="connsiteY7" fmla="*/ 169718 h 543299"/>
                  <a:gd name="connsiteX8" fmla="*/ 407828 w 509254"/>
                  <a:gd name="connsiteY8" fmla="*/ 169718 h 543299"/>
                  <a:gd name="connsiteX9" fmla="*/ 407828 w 509254"/>
                  <a:gd name="connsiteY9" fmla="*/ 135774 h 543299"/>
                  <a:gd name="connsiteX10" fmla="*/ 407828 w 509254"/>
                  <a:gd name="connsiteY10" fmla="*/ 101831 h 543299"/>
                  <a:gd name="connsiteX11" fmla="*/ 374289 w 509254"/>
                  <a:gd name="connsiteY11" fmla="*/ 101831 h 543299"/>
                  <a:gd name="connsiteX12" fmla="*/ 373784 w 509254"/>
                  <a:gd name="connsiteY12" fmla="*/ 67887 h 543299"/>
                  <a:gd name="connsiteX13" fmla="*/ 339840 w 509254"/>
                  <a:gd name="connsiteY13" fmla="*/ 67887 h 543299"/>
                  <a:gd name="connsiteX14" fmla="*/ 339840 w 509254"/>
                  <a:gd name="connsiteY14" fmla="*/ 33944 h 543299"/>
                  <a:gd name="connsiteX15" fmla="*/ 305896 w 509254"/>
                  <a:gd name="connsiteY15" fmla="*/ 33944 h 543299"/>
                  <a:gd name="connsiteX16" fmla="*/ 305896 w 509254"/>
                  <a:gd name="connsiteY16" fmla="*/ 0 h 543299"/>
                  <a:gd name="connsiteX17" fmla="*/ 271953 w 509254"/>
                  <a:gd name="connsiteY17" fmla="*/ 0 h 543299"/>
                  <a:gd name="connsiteX18" fmla="*/ 238009 w 509254"/>
                  <a:gd name="connsiteY18" fmla="*/ 0 h 543299"/>
                  <a:gd name="connsiteX19" fmla="*/ 204066 w 509254"/>
                  <a:gd name="connsiteY19" fmla="*/ 0 h 543299"/>
                  <a:gd name="connsiteX20" fmla="*/ 169819 w 509254"/>
                  <a:gd name="connsiteY20" fmla="*/ 0 h 543299"/>
                  <a:gd name="connsiteX21" fmla="*/ 135875 w 509254"/>
                  <a:gd name="connsiteY21" fmla="*/ 0 h 543299"/>
                  <a:gd name="connsiteX22" fmla="*/ 101932 w 509254"/>
                  <a:gd name="connsiteY22" fmla="*/ 0 h 543299"/>
                  <a:gd name="connsiteX23" fmla="*/ 67988 w 509254"/>
                  <a:gd name="connsiteY23" fmla="*/ 0 h 543299"/>
                  <a:gd name="connsiteX24" fmla="*/ 34045 w 509254"/>
                  <a:gd name="connsiteY24" fmla="*/ 0 h 543299"/>
                  <a:gd name="connsiteX25" fmla="*/ 34045 w 509254"/>
                  <a:gd name="connsiteY25" fmla="*/ 33944 h 543299"/>
                  <a:gd name="connsiteX26" fmla="*/ 34550 w 509254"/>
                  <a:gd name="connsiteY26" fmla="*/ 33944 h 543299"/>
                  <a:gd name="connsiteX27" fmla="*/ 34550 w 509254"/>
                  <a:gd name="connsiteY27" fmla="*/ 67180 h 543299"/>
                  <a:gd name="connsiteX28" fmla="*/ 34550 w 509254"/>
                  <a:gd name="connsiteY28" fmla="*/ 101124 h 543299"/>
                  <a:gd name="connsiteX29" fmla="*/ 34045 w 509254"/>
                  <a:gd name="connsiteY29" fmla="*/ 101124 h 543299"/>
                  <a:gd name="connsiteX30" fmla="*/ 34449 w 509254"/>
                  <a:gd name="connsiteY30" fmla="*/ 67180 h 543299"/>
                  <a:gd name="connsiteX31" fmla="*/ 33944 w 509254"/>
                  <a:gd name="connsiteY31" fmla="*/ 67180 h 543299"/>
                  <a:gd name="connsiteX32" fmla="*/ 33944 w 509254"/>
                  <a:gd name="connsiteY32" fmla="*/ 33742 h 543299"/>
                  <a:gd name="connsiteX33" fmla="*/ 0 w 509254"/>
                  <a:gd name="connsiteY33" fmla="*/ 33742 h 543299"/>
                  <a:gd name="connsiteX34" fmla="*/ 0 w 509254"/>
                  <a:gd name="connsiteY34" fmla="*/ 67685 h 543299"/>
                  <a:gd name="connsiteX35" fmla="*/ 505 w 509254"/>
                  <a:gd name="connsiteY35" fmla="*/ 67685 h 543299"/>
                  <a:gd name="connsiteX36" fmla="*/ 505 w 509254"/>
                  <a:gd name="connsiteY36" fmla="*/ 101124 h 543299"/>
                  <a:gd name="connsiteX37" fmla="*/ 505 w 509254"/>
                  <a:gd name="connsiteY37" fmla="*/ 135067 h 543299"/>
                  <a:gd name="connsiteX38" fmla="*/ 505 w 509254"/>
                  <a:gd name="connsiteY38" fmla="*/ 169011 h 543299"/>
                  <a:gd name="connsiteX39" fmla="*/ 505 w 509254"/>
                  <a:gd name="connsiteY39" fmla="*/ 202954 h 543299"/>
                  <a:gd name="connsiteX40" fmla="*/ 505 w 509254"/>
                  <a:gd name="connsiteY40" fmla="*/ 236898 h 543299"/>
                  <a:gd name="connsiteX41" fmla="*/ 505 w 509254"/>
                  <a:gd name="connsiteY41" fmla="*/ 270842 h 543299"/>
                  <a:gd name="connsiteX42" fmla="*/ 505 w 509254"/>
                  <a:gd name="connsiteY42" fmla="*/ 304785 h 543299"/>
                  <a:gd name="connsiteX43" fmla="*/ 34449 w 509254"/>
                  <a:gd name="connsiteY43" fmla="*/ 304785 h 543299"/>
                  <a:gd name="connsiteX44" fmla="*/ 34449 w 509254"/>
                  <a:gd name="connsiteY44" fmla="*/ 338729 h 543299"/>
                  <a:gd name="connsiteX45" fmla="*/ 33944 w 509254"/>
                  <a:gd name="connsiteY45" fmla="*/ 338729 h 543299"/>
                  <a:gd name="connsiteX46" fmla="*/ 33944 w 509254"/>
                  <a:gd name="connsiteY46" fmla="*/ 305290 h 543299"/>
                  <a:gd name="connsiteX47" fmla="*/ 505 w 509254"/>
                  <a:gd name="connsiteY47" fmla="*/ 304785 h 543299"/>
                  <a:gd name="connsiteX48" fmla="*/ 505 w 509254"/>
                  <a:gd name="connsiteY48" fmla="*/ 338729 h 543299"/>
                  <a:gd name="connsiteX49" fmla="*/ 505 w 509254"/>
                  <a:gd name="connsiteY49" fmla="*/ 372672 h 543299"/>
                  <a:gd name="connsiteX50" fmla="*/ 505 w 509254"/>
                  <a:gd name="connsiteY50" fmla="*/ 406616 h 543299"/>
                  <a:gd name="connsiteX51" fmla="*/ 505 w 509254"/>
                  <a:gd name="connsiteY51" fmla="*/ 440964 h 543299"/>
                  <a:gd name="connsiteX52" fmla="*/ 33944 w 509254"/>
                  <a:gd name="connsiteY52" fmla="*/ 440964 h 543299"/>
                  <a:gd name="connsiteX53" fmla="*/ 33944 w 509254"/>
                  <a:gd name="connsiteY53" fmla="*/ 441469 h 543299"/>
                  <a:gd name="connsiteX54" fmla="*/ 0 w 509254"/>
                  <a:gd name="connsiteY54" fmla="*/ 441469 h 543299"/>
                  <a:gd name="connsiteX55" fmla="*/ 0 w 509254"/>
                  <a:gd name="connsiteY55" fmla="*/ 475412 h 543299"/>
                  <a:gd name="connsiteX56" fmla="*/ 33944 w 509254"/>
                  <a:gd name="connsiteY56" fmla="*/ 475412 h 543299"/>
                  <a:gd name="connsiteX57" fmla="*/ 33944 w 509254"/>
                  <a:gd name="connsiteY57" fmla="*/ 509356 h 543299"/>
                  <a:gd name="connsiteX58" fmla="*/ 67887 w 509254"/>
                  <a:gd name="connsiteY58" fmla="*/ 509356 h 543299"/>
                  <a:gd name="connsiteX59" fmla="*/ 67887 w 509254"/>
                  <a:gd name="connsiteY59" fmla="*/ 543300 h 543299"/>
                  <a:gd name="connsiteX60" fmla="*/ 101831 w 509254"/>
                  <a:gd name="connsiteY60" fmla="*/ 543300 h 543299"/>
                  <a:gd name="connsiteX61" fmla="*/ 135774 w 509254"/>
                  <a:gd name="connsiteY61" fmla="*/ 543300 h 543299"/>
                  <a:gd name="connsiteX62" fmla="*/ 169819 w 509254"/>
                  <a:gd name="connsiteY62" fmla="*/ 543300 h 543299"/>
                  <a:gd name="connsiteX63" fmla="*/ 203763 w 509254"/>
                  <a:gd name="connsiteY63" fmla="*/ 543300 h 543299"/>
                  <a:gd name="connsiteX64" fmla="*/ 237706 w 509254"/>
                  <a:gd name="connsiteY64" fmla="*/ 543300 h 543299"/>
                  <a:gd name="connsiteX65" fmla="*/ 271650 w 509254"/>
                  <a:gd name="connsiteY65" fmla="*/ 543300 h 543299"/>
                  <a:gd name="connsiteX66" fmla="*/ 305593 w 509254"/>
                  <a:gd name="connsiteY66" fmla="*/ 543300 h 543299"/>
                  <a:gd name="connsiteX67" fmla="*/ 339537 w 509254"/>
                  <a:gd name="connsiteY67" fmla="*/ 543300 h 543299"/>
                  <a:gd name="connsiteX68" fmla="*/ 373481 w 509254"/>
                  <a:gd name="connsiteY68" fmla="*/ 543300 h 543299"/>
                  <a:gd name="connsiteX69" fmla="*/ 373481 w 509254"/>
                  <a:gd name="connsiteY69" fmla="*/ 509356 h 543299"/>
                  <a:gd name="connsiteX70" fmla="*/ 407424 w 509254"/>
                  <a:gd name="connsiteY70" fmla="*/ 509356 h 543299"/>
                  <a:gd name="connsiteX71" fmla="*/ 441368 w 509254"/>
                  <a:gd name="connsiteY71" fmla="*/ 509356 h 543299"/>
                  <a:gd name="connsiteX72" fmla="*/ 441368 w 509254"/>
                  <a:gd name="connsiteY72" fmla="*/ 475412 h 543299"/>
                  <a:gd name="connsiteX73" fmla="*/ 475311 w 509254"/>
                  <a:gd name="connsiteY73" fmla="*/ 475412 h 543299"/>
                  <a:gd name="connsiteX74" fmla="*/ 475311 w 509254"/>
                  <a:gd name="connsiteY74" fmla="*/ 441469 h 543299"/>
                  <a:gd name="connsiteX75" fmla="*/ 509255 w 509254"/>
                  <a:gd name="connsiteY75" fmla="*/ 441469 h 543299"/>
                  <a:gd name="connsiteX76" fmla="*/ 509255 w 509254"/>
                  <a:gd name="connsiteY76" fmla="*/ 407525 h 543299"/>
                  <a:gd name="connsiteX77" fmla="*/ 509255 w 509254"/>
                  <a:gd name="connsiteY77" fmla="*/ 373582 h 543299"/>
                  <a:gd name="connsiteX78" fmla="*/ 509255 w 509254"/>
                  <a:gd name="connsiteY78" fmla="*/ 339638 h 543299"/>
                  <a:gd name="connsiteX79" fmla="*/ 509255 w 509254"/>
                  <a:gd name="connsiteY79" fmla="*/ 305694 h 543299"/>
                  <a:gd name="connsiteX80" fmla="*/ 509255 w 509254"/>
                  <a:gd name="connsiteY80" fmla="*/ 271751 h 543299"/>
                  <a:gd name="connsiteX81" fmla="*/ 475715 w 509254"/>
                  <a:gd name="connsiteY81" fmla="*/ 271751 h 543299"/>
                  <a:gd name="connsiteX82" fmla="*/ 135875 w 509254"/>
                  <a:gd name="connsiteY82" fmla="*/ 135572 h 543299"/>
                  <a:gd name="connsiteX83" fmla="*/ 169819 w 509254"/>
                  <a:gd name="connsiteY83" fmla="*/ 135572 h 543299"/>
                  <a:gd name="connsiteX84" fmla="*/ 203763 w 509254"/>
                  <a:gd name="connsiteY84" fmla="*/ 135572 h 543299"/>
                  <a:gd name="connsiteX85" fmla="*/ 237706 w 509254"/>
                  <a:gd name="connsiteY85" fmla="*/ 135572 h 543299"/>
                  <a:gd name="connsiteX86" fmla="*/ 271650 w 509254"/>
                  <a:gd name="connsiteY86" fmla="*/ 135572 h 543299"/>
                  <a:gd name="connsiteX87" fmla="*/ 271650 w 509254"/>
                  <a:gd name="connsiteY87" fmla="*/ 169516 h 543299"/>
                  <a:gd name="connsiteX88" fmla="*/ 271650 w 509254"/>
                  <a:gd name="connsiteY88" fmla="*/ 203561 h 543299"/>
                  <a:gd name="connsiteX89" fmla="*/ 237706 w 509254"/>
                  <a:gd name="connsiteY89" fmla="*/ 203561 h 543299"/>
                  <a:gd name="connsiteX90" fmla="*/ 203763 w 509254"/>
                  <a:gd name="connsiteY90" fmla="*/ 203561 h 543299"/>
                  <a:gd name="connsiteX91" fmla="*/ 169819 w 509254"/>
                  <a:gd name="connsiteY91" fmla="*/ 203561 h 543299"/>
                  <a:gd name="connsiteX92" fmla="*/ 135875 w 509254"/>
                  <a:gd name="connsiteY92" fmla="*/ 203561 h 543299"/>
                  <a:gd name="connsiteX93" fmla="*/ 101932 w 509254"/>
                  <a:gd name="connsiteY93" fmla="*/ 203561 h 543299"/>
                  <a:gd name="connsiteX94" fmla="*/ 101932 w 509254"/>
                  <a:gd name="connsiteY94" fmla="*/ 169617 h 543299"/>
                  <a:gd name="connsiteX95" fmla="*/ 101932 w 509254"/>
                  <a:gd name="connsiteY95" fmla="*/ 135673 h 543299"/>
                  <a:gd name="connsiteX96" fmla="*/ 135875 w 509254"/>
                  <a:gd name="connsiteY96" fmla="*/ 135673 h 543299"/>
                  <a:gd name="connsiteX97" fmla="*/ 101831 w 509254"/>
                  <a:gd name="connsiteY97" fmla="*/ 373481 h 543299"/>
                  <a:gd name="connsiteX98" fmla="*/ 101831 w 509254"/>
                  <a:gd name="connsiteY98" fmla="*/ 339537 h 543299"/>
                  <a:gd name="connsiteX99" fmla="*/ 135774 w 509254"/>
                  <a:gd name="connsiteY99" fmla="*/ 339537 h 543299"/>
                  <a:gd name="connsiteX100" fmla="*/ 169819 w 509254"/>
                  <a:gd name="connsiteY100" fmla="*/ 339537 h 543299"/>
                  <a:gd name="connsiteX101" fmla="*/ 203763 w 509254"/>
                  <a:gd name="connsiteY101" fmla="*/ 339537 h 543299"/>
                  <a:gd name="connsiteX102" fmla="*/ 237706 w 509254"/>
                  <a:gd name="connsiteY102" fmla="*/ 339537 h 543299"/>
                  <a:gd name="connsiteX103" fmla="*/ 271650 w 509254"/>
                  <a:gd name="connsiteY103" fmla="*/ 339537 h 543299"/>
                  <a:gd name="connsiteX104" fmla="*/ 305593 w 509254"/>
                  <a:gd name="connsiteY104" fmla="*/ 339537 h 543299"/>
                  <a:gd name="connsiteX105" fmla="*/ 339537 w 509254"/>
                  <a:gd name="connsiteY105" fmla="*/ 339537 h 543299"/>
                  <a:gd name="connsiteX106" fmla="*/ 373481 w 509254"/>
                  <a:gd name="connsiteY106" fmla="*/ 339537 h 543299"/>
                  <a:gd name="connsiteX107" fmla="*/ 373481 w 509254"/>
                  <a:gd name="connsiteY107" fmla="*/ 373481 h 543299"/>
                  <a:gd name="connsiteX108" fmla="*/ 373481 w 509254"/>
                  <a:gd name="connsiteY108" fmla="*/ 407424 h 543299"/>
                  <a:gd name="connsiteX109" fmla="*/ 339537 w 509254"/>
                  <a:gd name="connsiteY109" fmla="*/ 407424 h 543299"/>
                  <a:gd name="connsiteX110" fmla="*/ 305593 w 509254"/>
                  <a:gd name="connsiteY110" fmla="*/ 407424 h 543299"/>
                  <a:gd name="connsiteX111" fmla="*/ 271650 w 509254"/>
                  <a:gd name="connsiteY111" fmla="*/ 407424 h 543299"/>
                  <a:gd name="connsiteX112" fmla="*/ 237706 w 509254"/>
                  <a:gd name="connsiteY112" fmla="*/ 407424 h 543299"/>
                  <a:gd name="connsiteX113" fmla="*/ 203763 w 509254"/>
                  <a:gd name="connsiteY113" fmla="*/ 407424 h 543299"/>
                  <a:gd name="connsiteX114" fmla="*/ 169819 w 509254"/>
                  <a:gd name="connsiteY114" fmla="*/ 407424 h 543299"/>
                  <a:gd name="connsiteX115" fmla="*/ 135875 w 509254"/>
                  <a:gd name="connsiteY115" fmla="*/ 407424 h 543299"/>
                  <a:gd name="connsiteX116" fmla="*/ 101932 w 509254"/>
                  <a:gd name="connsiteY116" fmla="*/ 407424 h 543299"/>
                  <a:gd name="connsiteX117" fmla="*/ 101932 w 509254"/>
                  <a:gd name="connsiteY117" fmla="*/ 373481 h 543299"/>
                  <a:gd name="connsiteX118" fmla="*/ 373683 w 509254"/>
                  <a:gd name="connsiteY118" fmla="*/ 102134 h 543299"/>
                  <a:gd name="connsiteX119" fmla="*/ 373683 w 509254"/>
                  <a:gd name="connsiteY119" fmla="*/ 102134 h 543299"/>
                  <a:gd name="connsiteX120" fmla="*/ 340244 w 509254"/>
                  <a:gd name="connsiteY120" fmla="*/ 102134 h 543299"/>
                  <a:gd name="connsiteX121" fmla="*/ 340244 w 509254"/>
                  <a:gd name="connsiteY121" fmla="*/ 136077 h 543299"/>
                  <a:gd name="connsiteX122" fmla="*/ 340244 w 509254"/>
                  <a:gd name="connsiteY122" fmla="*/ 170021 h 543299"/>
                  <a:gd name="connsiteX123" fmla="*/ 340244 w 509254"/>
                  <a:gd name="connsiteY123" fmla="*/ 203965 h 543299"/>
                  <a:gd name="connsiteX124" fmla="*/ 340244 w 509254"/>
                  <a:gd name="connsiteY124" fmla="*/ 237403 h 543299"/>
                  <a:gd name="connsiteX125" fmla="*/ 339739 w 509254"/>
                  <a:gd name="connsiteY125" fmla="*/ 237403 h 543299"/>
                  <a:gd name="connsiteX126" fmla="*/ 339739 w 509254"/>
                  <a:gd name="connsiteY126" fmla="*/ 203561 h 543299"/>
                  <a:gd name="connsiteX127" fmla="*/ 339739 w 509254"/>
                  <a:gd name="connsiteY127" fmla="*/ 169617 h 543299"/>
                  <a:gd name="connsiteX128" fmla="*/ 339739 w 509254"/>
                  <a:gd name="connsiteY128" fmla="*/ 135673 h 543299"/>
                  <a:gd name="connsiteX129" fmla="*/ 339739 w 509254"/>
                  <a:gd name="connsiteY129" fmla="*/ 101730 h 543299"/>
                  <a:gd name="connsiteX130" fmla="*/ 373683 w 509254"/>
                  <a:gd name="connsiteY130" fmla="*/ 102134 h 543299"/>
                  <a:gd name="connsiteX131" fmla="*/ 67887 w 509254"/>
                  <a:gd name="connsiteY131" fmla="*/ 407020 h 543299"/>
                  <a:gd name="connsiteX132" fmla="*/ 67887 w 509254"/>
                  <a:gd name="connsiteY132" fmla="*/ 407525 h 543299"/>
                  <a:gd name="connsiteX133" fmla="*/ 34449 w 509254"/>
                  <a:gd name="connsiteY133" fmla="*/ 407525 h 543299"/>
                  <a:gd name="connsiteX134" fmla="*/ 34449 w 509254"/>
                  <a:gd name="connsiteY134" fmla="*/ 407020 h 543299"/>
                  <a:gd name="connsiteX135" fmla="*/ 67887 w 509254"/>
                  <a:gd name="connsiteY135" fmla="*/ 407020 h 543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09254" h="543299">
                    <a:moveTo>
                      <a:pt x="475715" y="271549"/>
                    </a:moveTo>
                    <a:lnTo>
                      <a:pt x="475715" y="237605"/>
                    </a:lnTo>
                    <a:lnTo>
                      <a:pt x="441772" y="237605"/>
                    </a:lnTo>
                    <a:lnTo>
                      <a:pt x="407828" y="237605"/>
                    </a:lnTo>
                    <a:lnTo>
                      <a:pt x="374390" y="237605"/>
                    </a:lnTo>
                    <a:lnTo>
                      <a:pt x="374390" y="204167"/>
                    </a:lnTo>
                    <a:lnTo>
                      <a:pt x="374390" y="170223"/>
                    </a:lnTo>
                    <a:lnTo>
                      <a:pt x="374390" y="169718"/>
                    </a:lnTo>
                    <a:lnTo>
                      <a:pt x="407828" y="169718"/>
                    </a:lnTo>
                    <a:lnTo>
                      <a:pt x="407828" y="135774"/>
                    </a:lnTo>
                    <a:lnTo>
                      <a:pt x="407828" y="101831"/>
                    </a:lnTo>
                    <a:lnTo>
                      <a:pt x="374289" y="101831"/>
                    </a:lnTo>
                    <a:lnTo>
                      <a:pt x="373784" y="67887"/>
                    </a:lnTo>
                    <a:lnTo>
                      <a:pt x="339840" y="67887"/>
                    </a:lnTo>
                    <a:lnTo>
                      <a:pt x="339840" y="33944"/>
                    </a:lnTo>
                    <a:lnTo>
                      <a:pt x="305896" y="33944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69819" y="0"/>
                    </a:lnTo>
                    <a:lnTo>
                      <a:pt x="135875" y="0"/>
                    </a:lnTo>
                    <a:lnTo>
                      <a:pt x="101932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34045" y="33944"/>
                    </a:lnTo>
                    <a:lnTo>
                      <a:pt x="34550" y="33944"/>
                    </a:lnTo>
                    <a:lnTo>
                      <a:pt x="34550" y="67180"/>
                    </a:lnTo>
                    <a:lnTo>
                      <a:pt x="34550" y="101124"/>
                    </a:lnTo>
                    <a:lnTo>
                      <a:pt x="34045" y="101124"/>
                    </a:lnTo>
                    <a:lnTo>
                      <a:pt x="34449" y="67180"/>
                    </a:lnTo>
                    <a:lnTo>
                      <a:pt x="33944" y="67180"/>
                    </a:lnTo>
                    <a:lnTo>
                      <a:pt x="33944" y="33742"/>
                    </a:lnTo>
                    <a:lnTo>
                      <a:pt x="0" y="33742"/>
                    </a:lnTo>
                    <a:lnTo>
                      <a:pt x="0" y="67685"/>
                    </a:lnTo>
                    <a:lnTo>
                      <a:pt x="505" y="67685"/>
                    </a:lnTo>
                    <a:lnTo>
                      <a:pt x="505" y="101124"/>
                    </a:lnTo>
                    <a:lnTo>
                      <a:pt x="505" y="135067"/>
                    </a:lnTo>
                    <a:lnTo>
                      <a:pt x="505" y="169011"/>
                    </a:lnTo>
                    <a:lnTo>
                      <a:pt x="505" y="202954"/>
                    </a:lnTo>
                    <a:lnTo>
                      <a:pt x="505" y="236898"/>
                    </a:lnTo>
                    <a:lnTo>
                      <a:pt x="505" y="270842"/>
                    </a:lnTo>
                    <a:lnTo>
                      <a:pt x="505" y="304785"/>
                    </a:lnTo>
                    <a:lnTo>
                      <a:pt x="34449" y="304785"/>
                    </a:lnTo>
                    <a:lnTo>
                      <a:pt x="34449" y="338729"/>
                    </a:lnTo>
                    <a:lnTo>
                      <a:pt x="33944" y="338729"/>
                    </a:lnTo>
                    <a:lnTo>
                      <a:pt x="33944" y="305290"/>
                    </a:lnTo>
                    <a:lnTo>
                      <a:pt x="505" y="304785"/>
                    </a:lnTo>
                    <a:lnTo>
                      <a:pt x="505" y="338729"/>
                    </a:lnTo>
                    <a:lnTo>
                      <a:pt x="505" y="372672"/>
                    </a:lnTo>
                    <a:lnTo>
                      <a:pt x="505" y="406616"/>
                    </a:lnTo>
                    <a:lnTo>
                      <a:pt x="505" y="440964"/>
                    </a:lnTo>
                    <a:lnTo>
                      <a:pt x="33944" y="440964"/>
                    </a:lnTo>
                    <a:lnTo>
                      <a:pt x="33944" y="441469"/>
                    </a:lnTo>
                    <a:lnTo>
                      <a:pt x="0" y="441469"/>
                    </a:lnTo>
                    <a:lnTo>
                      <a:pt x="0" y="475412"/>
                    </a:lnTo>
                    <a:lnTo>
                      <a:pt x="33944" y="475412"/>
                    </a:lnTo>
                    <a:lnTo>
                      <a:pt x="33944" y="509356"/>
                    </a:lnTo>
                    <a:lnTo>
                      <a:pt x="67887" y="509356"/>
                    </a:lnTo>
                    <a:lnTo>
                      <a:pt x="67887" y="543300"/>
                    </a:lnTo>
                    <a:lnTo>
                      <a:pt x="101831" y="543300"/>
                    </a:lnTo>
                    <a:lnTo>
                      <a:pt x="135774" y="543300"/>
                    </a:lnTo>
                    <a:lnTo>
                      <a:pt x="169819" y="543300"/>
                    </a:lnTo>
                    <a:lnTo>
                      <a:pt x="203763" y="543300"/>
                    </a:lnTo>
                    <a:lnTo>
                      <a:pt x="237706" y="543300"/>
                    </a:lnTo>
                    <a:lnTo>
                      <a:pt x="271650" y="543300"/>
                    </a:lnTo>
                    <a:lnTo>
                      <a:pt x="305593" y="543300"/>
                    </a:lnTo>
                    <a:lnTo>
                      <a:pt x="339537" y="543300"/>
                    </a:lnTo>
                    <a:lnTo>
                      <a:pt x="373481" y="543300"/>
                    </a:lnTo>
                    <a:lnTo>
                      <a:pt x="373481" y="509356"/>
                    </a:lnTo>
                    <a:lnTo>
                      <a:pt x="407424" y="509356"/>
                    </a:lnTo>
                    <a:lnTo>
                      <a:pt x="441368" y="509356"/>
                    </a:lnTo>
                    <a:lnTo>
                      <a:pt x="441368" y="475412"/>
                    </a:lnTo>
                    <a:lnTo>
                      <a:pt x="475311" y="475412"/>
                    </a:lnTo>
                    <a:lnTo>
                      <a:pt x="475311" y="441469"/>
                    </a:lnTo>
                    <a:lnTo>
                      <a:pt x="509255" y="441469"/>
                    </a:lnTo>
                    <a:lnTo>
                      <a:pt x="509255" y="407525"/>
                    </a:lnTo>
                    <a:lnTo>
                      <a:pt x="509255" y="373582"/>
                    </a:lnTo>
                    <a:lnTo>
                      <a:pt x="509255" y="339638"/>
                    </a:lnTo>
                    <a:lnTo>
                      <a:pt x="509255" y="305694"/>
                    </a:lnTo>
                    <a:lnTo>
                      <a:pt x="509255" y="271751"/>
                    </a:lnTo>
                    <a:lnTo>
                      <a:pt x="475715" y="271751"/>
                    </a:lnTo>
                    <a:close/>
                    <a:moveTo>
                      <a:pt x="135875" y="135572"/>
                    </a:moveTo>
                    <a:lnTo>
                      <a:pt x="169819" y="135572"/>
                    </a:lnTo>
                    <a:lnTo>
                      <a:pt x="203763" y="135572"/>
                    </a:lnTo>
                    <a:lnTo>
                      <a:pt x="237706" y="135572"/>
                    </a:lnTo>
                    <a:lnTo>
                      <a:pt x="271650" y="135572"/>
                    </a:lnTo>
                    <a:lnTo>
                      <a:pt x="271650" y="169516"/>
                    </a:lnTo>
                    <a:lnTo>
                      <a:pt x="271650" y="203561"/>
                    </a:lnTo>
                    <a:lnTo>
                      <a:pt x="237706" y="203561"/>
                    </a:lnTo>
                    <a:lnTo>
                      <a:pt x="203763" y="203561"/>
                    </a:lnTo>
                    <a:lnTo>
                      <a:pt x="169819" y="203561"/>
                    </a:lnTo>
                    <a:lnTo>
                      <a:pt x="135875" y="203561"/>
                    </a:lnTo>
                    <a:lnTo>
                      <a:pt x="101932" y="203561"/>
                    </a:lnTo>
                    <a:lnTo>
                      <a:pt x="101932" y="169617"/>
                    </a:lnTo>
                    <a:lnTo>
                      <a:pt x="101932" y="135673"/>
                    </a:lnTo>
                    <a:lnTo>
                      <a:pt x="135875" y="135673"/>
                    </a:lnTo>
                    <a:close/>
                    <a:moveTo>
                      <a:pt x="101831" y="373481"/>
                    </a:moveTo>
                    <a:lnTo>
                      <a:pt x="101831" y="339537"/>
                    </a:lnTo>
                    <a:lnTo>
                      <a:pt x="135774" y="339537"/>
                    </a:lnTo>
                    <a:lnTo>
                      <a:pt x="169819" y="339537"/>
                    </a:lnTo>
                    <a:lnTo>
                      <a:pt x="203763" y="339537"/>
                    </a:lnTo>
                    <a:lnTo>
                      <a:pt x="237706" y="339537"/>
                    </a:lnTo>
                    <a:lnTo>
                      <a:pt x="271650" y="339537"/>
                    </a:lnTo>
                    <a:lnTo>
                      <a:pt x="305593" y="339537"/>
                    </a:lnTo>
                    <a:lnTo>
                      <a:pt x="339537" y="339537"/>
                    </a:lnTo>
                    <a:lnTo>
                      <a:pt x="373481" y="339537"/>
                    </a:lnTo>
                    <a:lnTo>
                      <a:pt x="373481" y="373481"/>
                    </a:lnTo>
                    <a:lnTo>
                      <a:pt x="373481" y="407424"/>
                    </a:lnTo>
                    <a:lnTo>
                      <a:pt x="339537" y="407424"/>
                    </a:lnTo>
                    <a:lnTo>
                      <a:pt x="305593" y="407424"/>
                    </a:lnTo>
                    <a:lnTo>
                      <a:pt x="271650" y="407424"/>
                    </a:lnTo>
                    <a:lnTo>
                      <a:pt x="237706" y="407424"/>
                    </a:lnTo>
                    <a:lnTo>
                      <a:pt x="203763" y="407424"/>
                    </a:lnTo>
                    <a:lnTo>
                      <a:pt x="169819" y="407424"/>
                    </a:lnTo>
                    <a:lnTo>
                      <a:pt x="135875" y="407424"/>
                    </a:lnTo>
                    <a:lnTo>
                      <a:pt x="101932" y="407424"/>
                    </a:lnTo>
                    <a:lnTo>
                      <a:pt x="101932" y="373481"/>
                    </a:lnTo>
                    <a:close/>
                    <a:moveTo>
                      <a:pt x="373683" y="102134"/>
                    </a:moveTo>
                    <a:lnTo>
                      <a:pt x="373683" y="102134"/>
                    </a:lnTo>
                    <a:lnTo>
                      <a:pt x="340244" y="102134"/>
                    </a:lnTo>
                    <a:lnTo>
                      <a:pt x="340244" y="136077"/>
                    </a:lnTo>
                    <a:lnTo>
                      <a:pt x="340244" y="170021"/>
                    </a:lnTo>
                    <a:lnTo>
                      <a:pt x="340244" y="203965"/>
                    </a:lnTo>
                    <a:lnTo>
                      <a:pt x="340244" y="237403"/>
                    </a:lnTo>
                    <a:lnTo>
                      <a:pt x="339739" y="237403"/>
                    </a:lnTo>
                    <a:lnTo>
                      <a:pt x="339739" y="203561"/>
                    </a:lnTo>
                    <a:lnTo>
                      <a:pt x="339739" y="169617"/>
                    </a:lnTo>
                    <a:lnTo>
                      <a:pt x="339739" y="135673"/>
                    </a:lnTo>
                    <a:lnTo>
                      <a:pt x="339739" y="101730"/>
                    </a:lnTo>
                    <a:lnTo>
                      <a:pt x="373683" y="102134"/>
                    </a:lnTo>
                    <a:close/>
                    <a:moveTo>
                      <a:pt x="67887" y="407020"/>
                    </a:moveTo>
                    <a:lnTo>
                      <a:pt x="67887" y="407525"/>
                    </a:lnTo>
                    <a:lnTo>
                      <a:pt x="34449" y="407525"/>
                    </a:lnTo>
                    <a:lnTo>
                      <a:pt x="34449" y="407020"/>
                    </a:lnTo>
                    <a:lnTo>
                      <a:pt x="67887" y="407020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A9C0A4E3-5C09-555A-C485-4048E5A8FD0A}"/>
                  </a:ext>
                </a:extLst>
              </p:cNvPr>
              <p:cNvSpPr/>
              <p:nvPr/>
            </p:nvSpPr>
            <p:spPr>
              <a:xfrm>
                <a:off x="-3646081" y="3595054"/>
                <a:ext cx="33943" cy="373783"/>
              </a:xfrm>
              <a:custGeom>
                <a:avLst/>
                <a:gdLst>
                  <a:gd name="connsiteX0" fmla="*/ 33944 w 33943"/>
                  <a:gd name="connsiteY0" fmla="*/ 339739 h 373783"/>
                  <a:gd name="connsiteX1" fmla="*/ 33944 w 33943"/>
                  <a:gd name="connsiteY1" fmla="*/ 305795 h 373783"/>
                  <a:gd name="connsiteX2" fmla="*/ 33944 w 33943"/>
                  <a:gd name="connsiteY2" fmla="*/ 271852 h 373783"/>
                  <a:gd name="connsiteX3" fmla="*/ 33944 w 33943"/>
                  <a:gd name="connsiteY3" fmla="*/ 237807 h 373783"/>
                  <a:gd name="connsiteX4" fmla="*/ 33944 w 33943"/>
                  <a:gd name="connsiteY4" fmla="*/ 203864 h 373783"/>
                  <a:gd name="connsiteX5" fmla="*/ 33944 w 33943"/>
                  <a:gd name="connsiteY5" fmla="*/ 169920 h 373783"/>
                  <a:gd name="connsiteX6" fmla="*/ 33944 w 33943"/>
                  <a:gd name="connsiteY6" fmla="*/ 135875 h 373783"/>
                  <a:gd name="connsiteX7" fmla="*/ 33944 w 33943"/>
                  <a:gd name="connsiteY7" fmla="*/ 101932 h 373783"/>
                  <a:gd name="connsiteX8" fmla="*/ 33944 w 33943"/>
                  <a:gd name="connsiteY8" fmla="*/ 67887 h 373783"/>
                  <a:gd name="connsiteX9" fmla="*/ 33944 w 33943"/>
                  <a:gd name="connsiteY9" fmla="*/ 33944 h 373783"/>
                  <a:gd name="connsiteX10" fmla="*/ 33944 w 33943"/>
                  <a:gd name="connsiteY10" fmla="*/ 0 h 373783"/>
                  <a:gd name="connsiteX11" fmla="*/ 0 w 33943"/>
                  <a:gd name="connsiteY11" fmla="*/ 0 h 373783"/>
                  <a:gd name="connsiteX12" fmla="*/ 0 w 33943"/>
                  <a:gd name="connsiteY12" fmla="*/ 33944 h 373783"/>
                  <a:gd name="connsiteX13" fmla="*/ 0 w 33943"/>
                  <a:gd name="connsiteY13" fmla="*/ 67887 h 373783"/>
                  <a:gd name="connsiteX14" fmla="*/ 0 w 33943"/>
                  <a:gd name="connsiteY14" fmla="*/ 101932 h 373783"/>
                  <a:gd name="connsiteX15" fmla="*/ 0 w 33943"/>
                  <a:gd name="connsiteY15" fmla="*/ 135875 h 373783"/>
                  <a:gd name="connsiteX16" fmla="*/ 0 w 33943"/>
                  <a:gd name="connsiteY16" fmla="*/ 169920 h 373783"/>
                  <a:gd name="connsiteX17" fmla="*/ 0 w 33943"/>
                  <a:gd name="connsiteY17" fmla="*/ 203864 h 373783"/>
                  <a:gd name="connsiteX18" fmla="*/ 0 w 33943"/>
                  <a:gd name="connsiteY18" fmla="*/ 237807 h 373783"/>
                  <a:gd name="connsiteX19" fmla="*/ 0 w 33943"/>
                  <a:gd name="connsiteY19" fmla="*/ 271852 h 373783"/>
                  <a:gd name="connsiteX20" fmla="*/ 0 w 33943"/>
                  <a:gd name="connsiteY20" fmla="*/ 305795 h 373783"/>
                  <a:gd name="connsiteX21" fmla="*/ 0 w 33943"/>
                  <a:gd name="connsiteY21" fmla="*/ 339739 h 373783"/>
                  <a:gd name="connsiteX22" fmla="*/ 0 w 33943"/>
                  <a:gd name="connsiteY22" fmla="*/ 339739 h 373783"/>
                  <a:gd name="connsiteX23" fmla="*/ 0 w 33943"/>
                  <a:gd name="connsiteY23" fmla="*/ 373784 h 373783"/>
                  <a:gd name="connsiteX24" fmla="*/ 33944 w 33943"/>
                  <a:gd name="connsiteY24" fmla="*/ 373784 h 373783"/>
                  <a:gd name="connsiteX25" fmla="*/ 33944 w 33943"/>
                  <a:gd name="connsiteY25" fmla="*/ 339739 h 37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3943" h="373783">
                    <a:moveTo>
                      <a:pt x="33944" y="339739"/>
                    </a:moveTo>
                    <a:lnTo>
                      <a:pt x="33944" y="305795"/>
                    </a:lnTo>
                    <a:lnTo>
                      <a:pt x="33944" y="271852"/>
                    </a:lnTo>
                    <a:lnTo>
                      <a:pt x="33944" y="237807"/>
                    </a:lnTo>
                    <a:lnTo>
                      <a:pt x="33944" y="203864"/>
                    </a:lnTo>
                    <a:lnTo>
                      <a:pt x="33944" y="169920"/>
                    </a:lnTo>
                    <a:lnTo>
                      <a:pt x="33944" y="135875"/>
                    </a:lnTo>
                    <a:lnTo>
                      <a:pt x="33944" y="101932"/>
                    </a:lnTo>
                    <a:lnTo>
                      <a:pt x="33944" y="67887"/>
                    </a:lnTo>
                    <a:lnTo>
                      <a:pt x="33944" y="33944"/>
                    </a:lnTo>
                    <a:lnTo>
                      <a:pt x="33944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0" y="101932"/>
                    </a:lnTo>
                    <a:lnTo>
                      <a:pt x="0" y="135875"/>
                    </a:lnTo>
                    <a:lnTo>
                      <a:pt x="0" y="169920"/>
                    </a:lnTo>
                    <a:lnTo>
                      <a:pt x="0" y="203864"/>
                    </a:lnTo>
                    <a:lnTo>
                      <a:pt x="0" y="237807"/>
                    </a:lnTo>
                    <a:lnTo>
                      <a:pt x="0" y="271852"/>
                    </a:lnTo>
                    <a:lnTo>
                      <a:pt x="0" y="305795"/>
                    </a:lnTo>
                    <a:lnTo>
                      <a:pt x="0" y="339739"/>
                    </a:lnTo>
                    <a:lnTo>
                      <a:pt x="0" y="339739"/>
                    </a:lnTo>
                    <a:lnTo>
                      <a:pt x="0" y="373784"/>
                    </a:lnTo>
                    <a:lnTo>
                      <a:pt x="33944" y="373784"/>
                    </a:lnTo>
                    <a:lnTo>
                      <a:pt x="33944" y="339739"/>
                    </a:lnTo>
                    <a:close/>
                  </a:path>
                </a:pathLst>
              </a:custGeom>
              <a:solidFill>
                <a:schemeClr val="bg1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 dirty="0"/>
              </a:p>
            </p:txBody>
          </p:sp>
        </p:grpSp>
        <p:grpSp>
          <p:nvGrpSpPr>
            <p:cNvPr id="40" name="Graphic 34">
              <a:extLst>
                <a:ext uri="{FF2B5EF4-FFF2-40B4-BE49-F238E27FC236}">
                  <a16:creationId xmlns:a16="http://schemas.microsoft.com/office/drawing/2014/main" id="{D0537A92-E2A3-87E8-0E46-CAD403EEBB82}"/>
                </a:ext>
              </a:extLst>
            </p:cNvPr>
            <p:cNvGrpSpPr/>
            <p:nvPr/>
          </p:nvGrpSpPr>
          <p:grpSpPr>
            <a:xfrm>
              <a:off x="-3816001" y="3357146"/>
              <a:ext cx="849600" cy="849600"/>
              <a:chOff x="-3816001" y="3357146"/>
              <a:chExt cx="849600" cy="849600"/>
            </a:xfrm>
            <a:solidFill>
              <a:srgbClr val="000000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11289B99-E8EB-096B-358E-A13E54BE20C7}"/>
                  </a:ext>
                </a:extLst>
              </p:cNvPr>
              <p:cNvSpPr/>
              <p:nvPr/>
            </p:nvSpPr>
            <p:spPr>
              <a:xfrm>
                <a:off x="-3816001" y="3357146"/>
                <a:ext cx="849600" cy="849600"/>
              </a:xfrm>
              <a:custGeom>
                <a:avLst/>
                <a:gdLst>
                  <a:gd name="connsiteX0" fmla="*/ 815555 w 849600"/>
                  <a:gd name="connsiteY0" fmla="*/ 101932 h 849600"/>
                  <a:gd name="connsiteX1" fmla="*/ 815555 w 849600"/>
                  <a:gd name="connsiteY1" fmla="*/ 67988 h 849600"/>
                  <a:gd name="connsiteX2" fmla="*/ 781612 w 849600"/>
                  <a:gd name="connsiteY2" fmla="*/ 67988 h 849600"/>
                  <a:gd name="connsiteX3" fmla="*/ 781612 w 849600"/>
                  <a:gd name="connsiteY3" fmla="*/ 33944 h 849600"/>
                  <a:gd name="connsiteX4" fmla="*/ 747567 w 849600"/>
                  <a:gd name="connsiteY4" fmla="*/ 33944 h 849600"/>
                  <a:gd name="connsiteX5" fmla="*/ 747567 w 849600"/>
                  <a:gd name="connsiteY5" fmla="*/ 0 h 849600"/>
                  <a:gd name="connsiteX6" fmla="*/ 713624 w 849600"/>
                  <a:gd name="connsiteY6" fmla="*/ 0 h 849600"/>
                  <a:gd name="connsiteX7" fmla="*/ 679680 w 849600"/>
                  <a:gd name="connsiteY7" fmla="*/ 0 h 849600"/>
                  <a:gd name="connsiteX8" fmla="*/ 645736 w 849600"/>
                  <a:gd name="connsiteY8" fmla="*/ 0 h 849600"/>
                  <a:gd name="connsiteX9" fmla="*/ 611793 w 849600"/>
                  <a:gd name="connsiteY9" fmla="*/ 0 h 849600"/>
                  <a:gd name="connsiteX10" fmla="*/ 577849 w 849600"/>
                  <a:gd name="connsiteY10" fmla="*/ 0 h 849600"/>
                  <a:gd name="connsiteX11" fmla="*/ 543906 w 849600"/>
                  <a:gd name="connsiteY11" fmla="*/ 0 h 849600"/>
                  <a:gd name="connsiteX12" fmla="*/ 509962 w 849600"/>
                  <a:gd name="connsiteY12" fmla="*/ 0 h 849600"/>
                  <a:gd name="connsiteX13" fmla="*/ 476018 w 849600"/>
                  <a:gd name="connsiteY13" fmla="*/ 0 h 849600"/>
                  <a:gd name="connsiteX14" fmla="*/ 442075 w 849600"/>
                  <a:gd name="connsiteY14" fmla="*/ 0 h 849600"/>
                  <a:gd name="connsiteX15" fmla="*/ 408131 w 849600"/>
                  <a:gd name="connsiteY15" fmla="*/ 0 h 849600"/>
                  <a:gd name="connsiteX16" fmla="*/ 373784 w 849600"/>
                  <a:gd name="connsiteY16" fmla="*/ 0 h 849600"/>
                  <a:gd name="connsiteX17" fmla="*/ 339840 w 849600"/>
                  <a:gd name="connsiteY17" fmla="*/ 0 h 849600"/>
                  <a:gd name="connsiteX18" fmla="*/ 305896 w 849600"/>
                  <a:gd name="connsiteY18" fmla="*/ 0 h 849600"/>
                  <a:gd name="connsiteX19" fmla="*/ 271953 w 849600"/>
                  <a:gd name="connsiteY19" fmla="*/ 0 h 849600"/>
                  <a:gd name="connsiteX20" fmla="*/ 238009 w 849600"/>
                  <a:gd name="connsiteY20" fmla="*/ 0 h 849600"/>
                  <a:gd name="connsiteX21" fmla="*/ 204066 w 849600"/>
                  <a:gd name="connsiteY21" fmla="*/ 0 h 849600"/>
                  <a:gd name="connsiteX22" fmla="*/ 170122 w 849600"/>
                  <a:gd name="connsiteY22" fmla="*/ 0 h 849600"/>
                  <a:gd name="connsiteX23" fmla="*/ 136178 w 849600"/>
                  <a:gd name="connsiteY23" fmla="*/ 0 h 849600"/>
                  <a:gd name="connsiteX24" fmla="*/ 102235 w 849600"/>
                  <a:gd name="connsiteY24" fmla="*/ 0 h 849600"/>
                  <a:gd name="connsiteX25" fmla="*/ 102235 w 849600"/>
                  <a:gd name="connsiteY25" fmla="*/ 33944 h 849600"/>
                  <a:gd name="connsiteX26" fmla="*/ 67988 w 849600"/>
                  <a:gd name="connsiteY26" fmla="*/ 33944 h 849600"/>
                  <a:gd name="connsiteX27" fmla="*/ 67988 w 849600"/>
                  <a:gd name="connsiteY27" fmla="*/ 67887 h 849600"/>
                  <a:gd name="connsiteX28" fmla="*/ 33944 w 849600"/>
                  <a:gd name="connsiteY28" fmla="*/ 67887 h 849600"/>
                  <a:gd name="connsiteX29" fmla="*/ 33944 w 849600"/>
                  <a:gd name="connsiteY29" fmla="*/ 101831 h 849600"/>
                  <a:gd name="connsiteX30" fmla="*/ 0 w 849600"/>
                  <a:gd name="connsiteY30" fmla="*/ 101831 h 849600"/>
                  <a:gd name="connsiteX31" fmla="*/ 0 w 849600"/>
                  <a:gd name="connsiteY31" fmla="*/ 135774 h 849600"/>
                  <a:gd name="connsiteX32" fmla="*/ 0 w 849600"/>
                  <a:gd name="connsiteY32" fmla="*/ 169718 h 849600"/>
                  <a:gd name="connsiteX33" fmla="*/ 0 w 849600"/>
                  <a:gd name="connsiteY33" fmla="*/ 203662 h 849600"/>
                  <a:gd name="connsiteX34" fmla="*/ 0 w 849600"/>
                  <a:gd name="connsiteY34" fmla="*/ 237605 h 849600"/>
                  <a:gd name="connsiteX35" fmla="*/ 0 w 849600"/>
                  <a:gd name="connsiteY35" fmla="*/ 271549 h 849600"/>
                  <a:gd name="connsiteX36" fmla="*/ 0 w 849600"/>
                  <a:gd name="connsiteY36" fmla="*/ 305492 h 849600"/>
                  <a:gd name="connsiteX37" fmla="*/ 0 w 849600"/>
                  <a:gd name="connsiteY37" fmla="*/ 339436 h 849600"/>
                  <a:gd name="connsiteX38" fmla="*/ 0 w 849600"/>
                  <a:gd name="connsiteY38" fmla="*/ 373784 h 849600"/>
                  <a:gd name="connsiteX39" fmla="*/ 0 w 849600"/>
                  <a:gd name="connsiteY39" fmla="*/ 407727 h 849600"/>
                  <a:gd name="connsiteX40" fmla="*/ 0 w 849600"/>
                  <a:gd name="connsiteY40" fmla="*/ 441671 h 849600"/>
                  <a:gd name="connsiteX41" fmla="*/ 0 w 849600"/>
                  <a:gd name="connsiteY41" fmla="*/ 475614 h 849600"/>
                  <a:gd name="connsiteX42" fmla="*/ 0 w 849600"/>
                  <a:gd name="connsiteY42" fmla="*/ 509558 h 849600"/>
                  <a:gd name="connsiteX43" fmla="*/ 0 w 849600"/>
                  <a:gd name="connsiteY43" fmla="*/ 543502 h 849600"/>
                  <a:gd name="connsiteX44" fmla="*/ 0 w 849600"/>
                  <a:gd name="connsiteY44" fmla="*/ 577445 h 849600"/>
                  <a:gd name="connsiteX45" fmla="*/ 0 w 849600"/>
                  <a:gd name="connsiteY45" fmla="*/ 611389 h 849600"/>
                  <a:gd name="connsiteX46" fmla="*/ 0 w 849600"/>
                  <a:gd name="connsiteY46" fmla="*/ 645332 h 849600"/>
                  <a:gd name="connsiteX47" fmla="*/ 0 w 849600"/>
                  <a:gd name="connsiteY47" fmla="*/ 679276 h 849600"/>
                  <a:gd name="connsiteX48" fmla="*/ 0 w 849600"/>
                  <a:gd name="connsiteY48" fmla="*/ 713220 h 849600"/>
                  <a:gd name="connsiteX49" fmla="*/ 0 w 849600"/>
                  <a:gd name="connsiteY49" fmla="*/ 747567 h 849600"/>
                  <a:gd name="connsiteX50" fmla="*/ 33944 w 849600"/>
                  <a:gd name="connsiteY50" fmla="*/ 747567 h 849600"/>
                  <a:gd name="connsiteX51" fmla="*/ 33944 w 849600"/>
                  <a:gd name="connsiteY51" fmla="*/ 781511 h 849600"/>
                  <a:gd name="connsiteX52" fmla="*/ 67887 w 849600"/>
                  <a:gd name="connsiteY52" fmla="*/ 781511 h 849600"/>
                  <a:gd name="connsiteX53" fmla="*/ 67887 w 849600"/>
                  <a:gd name="connsiteY53" fmla="*/ 815454 h 849600"/>
                  <a:gd name="connsiteX54" fmla="*/ 101831 w 849600"/>
                  <a:gd name="connsiteY54" fmla="*/ 815454 h 849600"/>
                  <a:gd name="connsiteX55" fmla="*/ 101831 w 849600"/>
                  <a:gd name="connsiteY55" fmla="*/ 849600 h 849600"/>
                  <a:gd name="connsiteX56" fmla="*/ 135774 w 849600"/>
                  <a:gd name="connsiteY56" fmla="*/ 849600 h 849600"/>
                  <a:gd name="connsiteX57" fmla="*/ 169718 w 849600"/>
                  <a:gd name="connsiteY57" fmla="*/ 849600 h 849600"/>
                  <a:gd name="connsiteX58" fmla="*/ 203662 w 849600"/>
                  <a:gd name="connsiteY58" fmla="*/ 849600 h 849600"/>
                  <a:gd name="connsiteX59" fmla="*/ 237605 w 849600"/>
                  <a:gd name="connsiteY59" fmla="*/ 849600 h 849600"/>
                  <a:gd name="connsiteX60" fmla="*/ 271549 w 849600"/>
                  <a:gd name="connsiteY60" fmla="*/ 849600 h 849600"/>
                  <a:gd name="connsiteX61" fmla="*/ 305492 w 849600"/>
                  <a:gd name="connsiteY61" fmla="*/ 849600 h 849600"/>
                  <a:gd name="connsiteX62" fmla="*/ 339436 w 849600"/>
                  <a:gd name="connsiteY62" fmla="*/ 849600 h 849600"/>
                  <a:gd name="connsiteX63" fmla="*/ 373784 w 849600"/>
                  <a:gd name="connsiteY63" fmla="*/ 849600 h 849600"/>
                  <a:gd name="connsiteX64" fmla="*/ 407727 w 849600"/>
                  <a:gd name="connsiteY64" fmla="*/ 849600 h 849600"/>
                  <a:gd name="connsiteX65" fmla="*/ 441671 w 849600"/>
                  <a:gd name="connsiteY65" fmla="*/ 849600 h 849600"/>
                  <a:gd name="connsiteX66" fmla="*/ 475614 w 849600"/>
                  <a:gd name="connsiteY66" fmla="*/ 849600 h 849600"/>
                  <a:gd name="connsiteX67" fmla="*/ 509558 w 849600"/>
                  <a:gd name="connsiteY67" fmla="*/ 849600 h 849600"/>
                  <a:gd name="connsiteX68" fmla="*/ 543502 w 849600"/>
                  <a:gd name="connsiteY68" fmla="*/ 849600 h 849600"/>
                  <a:gd name="connsiteX69" fmla="*/ 577445 w 849600"/>
                  <a:gd name="connsiteY69" fmla="*/ 849600 h 849600"/>
                  <a:gd name="connsiteX70" fmla="*/ 611389 w 849600"/>
                  <a:gd name="connsiteY70" fmla="*/ 849600 h 849600"/>
                  <a:gd name="connsiteX71" fmla="*/ 645332 w 849600"/>
                  <a:gd name="connsiteY71" fmla="*/ 849600 h 849600"/>
                  <a:gd name="connsiteX72" fmla="*/ 679276 w 849600"/>
                  <a:gd name="connsiteY72" fmla="*/ 849600 h 849600"/>
                  <a:gd name="connsiteX73" fmla="*/ 713220 w 849600"/>
                  <a:gd name="connsiteY73" fmla="*/ 849600 h 849600"/>
                  <a:gd name="connsiteX74" fmla="*/ 747567 w 849600"/>
                  <a:gd name="connsiteY74" fmla="*/ 849600 h 849600"/>
                  <a:gd name="connsiteX75" fmla="*/ 747567 w 849600"/>
                  <a:gd name="connsiteY75" fmla="*/ 815656 h 849600"/>
                  <a:gd name="connsiteX76" fmla="*/ 781511 w 849600"/>
                  <a:gd name="connsiteY76" fmla="*/ 815656 h 849600"/>
                  <a:gd name="connsiteX77" fmla="*/ 781511 w 849600"/>
                  <a:gd name="connsiteY77" fmla="*/ 781713 h 849600"/>
                  <a:gd name="connsiteX78" fmla="*/ 815454 w 849600"/>
                  <a:gd name="connsiteY78" fmla="*/ 781713 h 849600"/>
                  <a:gd name="connsiteX79" fmla="*/ 815454 w 849600"/>
                  <a:gd name="connsiteY79" fmla="*/ 747567 h 849600"/>
                  <a:gd name="connsiteX80" fmla="*/ 849600 w 849600"/>
                  <a:gd name="connsiteY80" fmla="*/ 747567 h 849600"/>
                  <a:gd name="connsiteX81" fmla="*/ 849600 w 849600"/>
                  <a:gd name="connsiteY81" fmla="*/ 713624 h 849600"/>
                  <a:gd name="connsiteX82" fmla="*/ 849600 w 849600"/>
                  <a:gd name="connsiteY82" fmla="*/ 679680 h 849600"/>
                  <a:gd name="connsiteX83" fmla="*/ 849600 w 849600"/>
                  <a:gd name="connsiteY83" fmla="*/ 645736 h 849600"/>
                  <a:gd name="connsiteX84" fmla="*/ 849600 w 849600"/>
                  <a:gd name="connsiteY84" fmla="*/ 611793 h 849600"/>
                  <a:gd name="connsiteX85" fmla="*/ 849600 w 849600"/>
                  <a:gd name="connsiteY85" fmla="*/ 577849 h 849600"/>
                  <a:gd name="connsiteX86" fmla="*/ 849600 w 849600"/>
                  <a:gd name="connsiteY86" fmla="*/ 543906 h 849600"/>
                  <a:gd name="connsiteX87" fmla="*/ 849600 w 849600"/>
                  <a:gd name="connsiteY87" fmla="*/ 509962 h 849600"/>
                  <a:gd name="connsiteX88" fmla="*/ 849600 w 849600"/>
                  <a:gd name="connsiteY88" fmla="*/ 476018 h 849600"/>
                  <a:gd name="connsiteX89" fmla="*/ 849600 w 849600"/>
                  <a:gd name="connsiteY89" fmla="*/ 442075 h 849600"/>
                  <a:gd name="connsiteX90" fmla="*/ 849600 w 849600"/>
                  <a:gd name="connsiteY90" fmla="*/ 408131 h 849600"/>
                  <a:gd name="connsiteX91" fmla="*/ 849600 w 849600"/>
                  <a:gd name="connsiteY91" fmla="*/ 373784 h 849600"/>
                  <a:gd name="connsiteX92" fmla="*/ 849600 w 849600"/>
                  <a:gd name="connsiteY92" fmla="*/ 339840 h 849600"/>
                  <a:gd name="connsiteX93" fmla="*/ 849600 w 849600"/>
                  <a:gd name="connsiteY93" fmla="*/ 305896 h 849600"/>
                  <a:gd name="connsiteX94" fmla="*/ 849600 w 849600"/>
                  <a:gd name="connsiteY94" fmla="*/ 271953 h 849600"/>
                  <a:gd name="connsiteX95" fmla="*/ 849600 w 849600"/>
                  <a:gd name="connsiteY95" fmla="*/ 238009 h 849600"/>
                  <a:gd name="connsiteX96" fmla="*/ 849600 w 849600"/>
                  <a:gd name="connsiteY96" fmla="*/ 204066 h 849600"/>
                  <a:gd name="connsiteX97" fmla="*/ 849600 w 849600"/>
                  <a:gd name="connsiteY97" fmla="*/ 170122 h 849600"/>
                  <a:gd name="connsiteX98" fmla="*/ 849600 w 849600"/>
                  <a:gd name="connsiteY98" fmla="*/ 136178 h 849600"/>
                  <a:gd name="connsiteX99" fmla="*/ 849600 w 849600"/>
                  <a:gd name="connsiteY99" fmla="*/ 102235 h 849600"/>
                  <a:gd name="connsiteX100" fmla="*/ 815555 w 849600"/>
                  <a:gd name="connsiteY100" fmla="*/ 102235 h 849600"/>
                  <a:gd name="connsiteX101" fmla="*/ 713624 w 849600"/>
                  <a:gd name="connsiteY101" fmla="*/ 475715 h 849600"/>
                  <a:gd name="connsiteX102" fmla="*/ 713624 w 849600"/>
                  <a:gd name="connsiteY102" fmla="*/ 509659 h 849600"/>
                  <a:gd name="connsiteX103" fmla="*/ 713624 w 849600"/>
                  <a:gd name="connsiteY103" fmla="*/ 543603 h 849600"/>
                  <a:gd name="connsiteX104" fmla="*/ 713624 w 849600"/>
                  <a:gd name="connsiteY104" fmla="*/ 577546 h 849600"/>
                  <a:gd name="connsiteX105" fmla="*/ 713624 w 849600"/>
                  <a:gd name="connsiteY105" fmla="*/ 611490 h 849600"/>
                  <a:gd name="connsiteX106" fmla="*/ 679680 w 849600"/>
                  <a:gd name="connsiteY106" fmla="*/ 611490 h 849600"/>
                  <a:gd name="connsiteX107" fmla="*/ 679680 w 849600"/>
                  <a:gd name="connsiteY107" fmla="*/ 645433 h 849600"/>
                  <a:gd name="connsiteX108" fmla="*/ 645736 w 849600"/>
                  <a:gd name="connsiteY108" fmla="*/ 645433 h 849600"/>
                  <a:gd name="connsiteX109" fmla="*/ 645736 w 849600"/>
                  <a:gd name="connsiteY109" fmla="*/ 679377 h 849600"/>
                  <a:gd name="connsiteX110" fmla="*/ 611793 w 849600"/>
                  <a:gd name="connsiteY110" fmla="*/ 679377 h 849600"/>
                  <a:gd name="connsiteX111" fmla="*/ 577849 w 849600"/>
                  <a:gd name="connsiteY111" fmla="*/ 679377 h 849600"/>
                  <a:gd name="connsiteX112" fmla="*/ 577849 w 849600"/>
                  <a:gd name="connsiteY112" fmla="*/ 713321 h 849600"/>
                  <a:gd name="connsiteX113" fmla="*/ 543906 w 849600"/>
                  <a:gd name="connsiteY113" fmla="*/ 713321 h 849600"/>
                  <a:gd name="connsiteX114" fmla="*/ 509962 w 849600"/>
                  <a:gd name="connsiteY114" fmla="*/ 713321 h 849600"/>
                  <a:gd name="connsiteX115" fmla="*/ 476018 w 849600"/>
                  <a:gd name="connsiteY115" fmla="*/ 713321 h 849600"/>
                  <a:gd name="connsiteX116" fmla="*/ 442075 w 849600"/>
                  <a:gd name="connsiteY116" fmla="*/ 713321 h 849600"/>
                  <a:gd name="connsiteX117" fmla="*/ 408131 w 849600"/>
                  <a:gd name="connsiteY117" fmla="*/ 713321 h 849600"/>
                  <a:gd name="connsiteX118" fmla="*/ 373784 w 849600"/>
                  <a:gd name="connsiteY118" fmla="*/ 713321 h 849600"/>
                  <a:gd name="connsiteX119" fmla="*/ 339840 w 849600"/>
                  <a:gd name="connsiteY119" fmla="*/ 713321 h 849600"/>
                  <a:gd name="connsiteX120" fmla="*/ 305896 w 849600"/>
                  <a:gd name="connsiteY120" fmla="*/ 713321 h 849600"/>
                  <a:gd name="connsiteX121" fmla="*/ 271953 w 849600"/>
                  <a:gd name="connsiteY121" fmla="*/ 713321 h 849600"/>
                  <a:gd name="connsiteX122" fmla="*/ 271953 w 849600"/>
                  <a:gd name="connsiteY122" fmla="*/ 679377 h 849600"/>
                  <a:gd name="connsiteX123" fmla="*/ 238009 w 849600"/>
                  <a:gd name="connsiteY123" fmla="*/ 679377 h 849600"/>
                  <a:gd name="connsiteX124" fmla="*/ 238009 w 849600"/>
                  <a:gd name="connsiteY124" fmla="*/ 645433 h 849600"/>
                  <a:gd name="connsiteX125" fmla="*/ 204066 w 849600"/>
                  <a:gd name="connsiteY125" fmla="*/ 645433 h 849600"/>
                  <a:gd name="connsiteX126" fmla="*/ 204066 w 849600"/>
                  <a:gd name="connsiteY126" fmla="*/ 611490 h 849600"/>
                  <a:gd name="connsiteX127" fmla="*/ 170122 w 849600"/>
                  <a:gd name="connsiteY127" fmla="*/ 611490 h 849600"/>
                  <a:gd name="connsiteX128" fmla="*/ 170122 w 849600"/>
                  <a:gd name="connsiteY128" fmla="*/ 577546 h 849600"/>
                  <a:gd name="connsiteX129" fmla="*/ 170122 w 849600"/>
                  <a:gd name="connsiteY129" fmla="*/ 543603 h 849600"/>
                  <a:gd name="connsiteX130" fmla="*/ 170122 w 849600"/>
                  <a:gd name="connsiteY130" fmla="*/ 509659 h 849600"/>
                  <a:gd name="connsiteX131" fmla="*/ 170122 w 849600"/>
                  <a:gd name="connsiteY131" fmla="*/ 475715 h 849600"/>
                  <a:gd name="connsiteX132" fmla="*/ 170122 w 849600"/>
                  <a:gd name="connsiteY132" fmla="*/ 441772 h 849600"/>
                  <a:gd name="connsiteX133" fmla="*/ 170122 w 849600"/>
                  <a:gd name="connsiteY133" fmla="*/ 407828 h 849600"/>
                  <a:gd name="connsiteX134" fmla="*/ 170122 w 849600"/>
                  <a:gd name="connsiteY134" fmla="*/ 373784 h 849600"/>
                  <a:gd name="connsiteX135" fmla="*/ 170122 w 849600"/>
                  <a:gd name="connsiteY135" fmla="*/ 339840 h 849600"/>
                  <a:gd name="connsiteX136" fmla="*/ 170122 w 849600"/>
                  <a:gd name="connsiteY136" fmla="*/ 305896 h 849600"/>
                  <a:gd name="connsiteX137" fmla="*/ 170122 w 849600"/>
                  <a:gd name="connsiteY137" fmla="*/ 271953 h 849600"/>
                  <a:gd name="connsiteX138" fmla="*/ 170122 w 849600"/>
                  <a:gd name="connsiteY138" fmla="*/ 238009 h 849600"/>
                  <a:gd name="connsiteX139" fmla="*/ 204066 w 849600"/>
                  <a:gd name="connsiteY139" fmla="*/ 238009 h 849600"/>
                  <a:gd name="connsiteX140" fmla="*/ 204066 w 849600"/>
                  <a:gd name="connsiteY140" fmla="*/ 204066 h 849600"/>
                  <a:gd name="connsiteX141" fmla="*/ 238009 w 849600"/>
                  <a:gd name="connsiteY141" fmla="*/ 204066 h 849600"/>
                  <a:gd name="connsiteX142" fmla="*/ 238009 w 849600"/>
                  <a:gd name="connsiteY142" fmla="*/ 170122 h 849600"/>
                  <a:gd name="connsiteX143" fmla="*/ 271953 w 849600"/>
                  <a:gd name="connsiteY143" fmla="*/ 170122 h 849600"/>
                  <a:gd name="connsiteX144" fmla="*/ 305896 w 849600"/>
                  <a:gd name="connsiteY144" fmla="*/ 170122 h 849600"/>
                  <a:gd name="connsiteX145" fmla="*/ 339840 w 849600"/>
                  <a:gd name="connsiteY145" fmla="*/ 170122 h 849600"/>
                  <a:gd name="connsiteX146" fmla="*/ 373784 w 849600"/>
                  <a:gd name="connsiteY146" fmla="*/ 170122 h 849600"/>
                  <a:gd name="connsiteX147" fmla="*/ 407727 w 849600"/>
                  <a:gd name="connsiteY147" fmla="*/ 170122 h 849600"/>
                  <a:gd name="connsiteX148" fmla="*/ 441671 w 849600"/>
                  <a:gd name="connsiteY148" fmla="*/ 170122 h 849600"/>
                  <a:gd name="connsiteX149" fmla="*/ 475614 w 849600"/>
                  <a:gd name="connsiteY149" fmla="*/ 170122 h 849600"/>
                  <a:gd name="connsiteX150" fmla="*/ 509558 w 849600"/>
                  <a:gd name="connsiteY150" fmla="*/ 170122 h 849600"/>
                  <a:gd name="connsiteX151" fmla="*/ 509558 w 849600"/>
                  <a:gd name="connsiteY151" fmla="*/ 204066 h 849600"/>
                  <a:gd name="connsiteX152" fmla="*/ 543502 w 849600"/>
                  <a:gd name="connsiteY152" fmla="*/ 204066 h 849600"/>
                  <a:gd name="connsiteX153" fmla="*/ 543502 w 849600"/>
                  <a:gd name="connsiteY153" fmla="*/ 238009 h 849600"/>
                  <a:gd name="connsiteX154" fmla="*/ 577445 w 849600"/>
                  <a:gd name="connsiteY154" fmla="*/ 238009 h 849600"/>
                  <a:gd name="connsiteX155" fmla="*/ 577445 w 849600"/>
                  <a:gd name="connsiteY155" fmla="*/ 271953 h 849600"/>
                  <a:gd name="connsiteX156" fmla="*/ 611389 w 849600"/>
                  <a:gd name="connsiteY156" fmla="*/ 271953 h 849600"/>
                  <a:gd name="connsiteX157" fmla="*/ 611389 w 849600"/>
                  <a:gd name="connsiteY157" fmla="*/ 305896 h 849600"/>
                  <a:gd name="connsiteX158" fmla="*/ 611389 w 849600"/>
                  <a:gd name="connsiteY158" fmla="*/ 339840 h 849600"/>
                  <a:gd name="connsiteX159" fmla="*/ 577445 w 849600"/>
                  <a:gd name="connsiteY159" fmla="*/ 339840 h 849600"/>
                  <a:gd name="connsiteX160" fmla="*/ 577445 w 849600"/>
                  <a:gd name="connsiteY160" fmla="*/ 373784 h 849600"/>
                  <a:gd name="connsiteX161" fmla="*/ 577445 w 849600"/>
                  <a:gd name="connsiteY161" fmla="*/ 407727 h 849600"/>
                  <a:gd name="connsiteX162" fmla="*/ 611389 w 849600"/>
                  <a:gd name="connsiteY162" fmla="*/ 407727 h 849600"/>
                  <a:gd name="connsiteX163" fmla="*/ 645332 w 849600"/>
                  <a:gd name="connsiteY163" fmla="*/ 407727 h 849600"/>
                  <a:gd name="connsiteX164" fmla="*/ 679276 w 849600"/>
                  <a:gd name="connsiteY164" fmla="*/ 407727 h 849600"/>
                  <a:gd name="connsiteX165" fmla="*/ 679276 w 849600"/>
                  <a:gd name="connsiteY165" fmla="*/ 441671 h 849600"/>
                  <a:gd name="connsiteX166" fmla="*/ 713220 w 849600"/>
                  <a:gd name="connsiteY166" fmla="*/ 441671 h 849600"/>
                  <a:gd name="connsiteX167" fmla="*/ 713220 w 849600"/>
                  <a:gd name="connsiteY167" fmla="*/ 475715 h 84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849600" h="849600">
                    <a:moveTo>
                      <a:pt x="815555" y="101932"/>
                    </a:moveTo>
                    <a:lnTo>
                      <a:pt x="815555" y="67988"/>
                    </a:lnTo>
                    <a:lnTo>
                      <a:pt x="781612" y="67988"/>
                    </a:lnTo>
                    <a:lnTo>
                      <a:pt x="781612" y="33944"/>
                    </a:lnTo>
                    <a:lnTo>
                      <a:pt x="747567" y="33944"/>
                    </a:lnTo>
                    <a:lnTo>
                      <a:pt x="747567" y="0"/>
                    </a:lnTo>
                    <a:lnTo>
                      <a:pt x="713624" y="0"/>
                    </a:lnTo>
                    <a:lnTo>
                      <a:pt x="679680" y="0"/>
                    </a:lnTo>
                    <a:lnTo>
                      <a:pt x="645736" y="0"/>
                    </a:lnTo>
                    <a:lnTo>
                      <a:pt x="611793" y="0"/>
                    </a:lnTo>
                    <a:lnTo>
                      <a:pt x="577849" y="0"/>
                    </a:lnTo>
                    <a:lnTo>
                      <a:pt x="543906" y="0"/>
                    </a:lnTo>
                    <a:lnTo>
                      <a:pt x="509962" y="0"/>
                    </a:lnTo>
                    <a:lnTo>
                      <a:pt x="476018" y="0"/>
                    </a:lnTo>
                    <a:lnTo>
                      <a:pt x="442075" y="0"/>
                    </a:lnTo>
                    <a:lnTo>
                      <a:pt x="408131" y="0"/>
                    </a:lnTo>
                    <a:lnTo>
                      <a:pt x="373784" y="0"/>
                    </a:lnTo>
                    <a:lnTo>
                      <a:pt x="339840" y="0"/>
                    </a:lnTo>
                    <a:lnTo>
                      <a:pt x="305896" y="0"/>
                    </a:lnTo>
                    <a:lnTo>
                      <a:pt x="271953" y="0"/>
                    </a:lnTo>
                    <a:lnTo>
                      <a:pt x="238009" y="0"/>
                    </a:lnTo>
                    <a:lnTo>
                      <a:pt x="204066" y="0"/>
                    </a:lnTo>
                    <a:lnTo>
                      <a:pt x="170122" y="0"/>
                    </a:lnTo>
                    <a:lnTo>
                      <a:pt x="136178" y="0"/>
                    </a:lnTo>
                    <a:lnTo>
                      <a:pt x="102235" y="0"/>
                    </a:lnTo>
                    <a:lnTo>
                      <a:pt x="102235" y="33944"/>
                    </a:lnTo>
                    <a:lnTo>
                      <a:pt x="67988" y="33944"/>
                    </a:lnTo>
                    <a:lnTo>
                      <a:pt x="67988" y="67887"/>
                    </a:lnTo>
                    <a:lnTo>
                      <a:pt x="33944" y="67887"/>
                    </a:lnTo>
                    <a:lnTo>
                      <a:pt x="33944" y="101831"/>
                    </a:lnTo>
                    <a:lnTo>
                      <a:pt x="0" y="101831"/>
                    </a:lnTo>
                    <a:lnTo>
                      <a:pt x="0" y="135774"/>
                    </a:lnTo>
                    <a:lnTo>
                      <a:pt x="0" y="169718"/>
                    </a:lnTo>
                    <a:lnTo>
                      <a:pt x="0" y="203662"/>
                    </a:lnTo>
                    <a:lnTo>
                      <a:pt x="0" y="237605"/>
                    </a:lnTo>
                    <a:lnTo>
                      <a:pt x="0" y="271549"/>
                    </a:lnTo>
                    <a:lnTo>
                      <a:pt x="0" y="305492"/>
                    </a:lnTo>
                    <a:lnTo>
                      <a:pt x="0" y="339436"/>
                    </a:lnTo>
                    <a:lnTo>
                      <a:pt x="0" y="373784"/>
                    </a:lnTo>
                    <a:lnTo>
                      <a:pt x="0" y="407727"/>
                    </a:lnTo>
                    <a:lnTo>
                      <a:pt x="0" y="441671"/>
                    </a:lnTo>
                    <a:lnTo>
                      <a:pt x="0" y="475614"/>
                    </a:lnTo>
                    <a:lnTo>
                      <a:pt x="0" y="509558"/>
                    </a:lnTo>
                    <a:lnTo>
                      <a:pt x="0" y="543502"/>
                    </a:lnTo>
                    <a:lnTo>
                      <a:pt x="0" y="577445"/>
                    </a:lnTo>
                    <a:lnTo>
                      <a:pt x="0" y="611389"/>
                    </a:lnTo>
                    <a:lnTo>
                      <a:pt x="0" y="645332"/>
                    </a:lnTo>
                    <a:lnTo>
                      <a:pt x="0" y="679276"/>
                    </a:lnTo>
                    <a:lnTo>
                      <a:pt x="0" y="713220"/>
                    </a:lnTo>
                    <a:lnTo>
                      <a:pt x="0" y="747567"/>
                    </a:lnTo>
                    <a:lnTo>
                      <a:pt x="33944" y="747567"/>
                    </a:lnTo>
                    <a:lnTo>
                      <a:pt x="33944" y="781511"/>
                    </a:lnTo>
                    <a:lnTo>
                      <a:pt x="67887" y="781511"/>
                    </a:lnTo>
                    <a:lnTo>
                      <a:pt x="67887" y="815454"/>
                    </a:lnTo>
                    <a:lnTo>
                      <a:pt x="101831" y="815454"/>
                    </a:lnTo>
                    <a:lnTo>
                      <a:pt x="101831" y="849600"/>
                    </a:lnTo>
                    <a:lnTo>
                      <a:pt x="135774" y="849600"/>
                    </a:lnTo>
                    <a:lnTo>
                      <a:pt x="169718" y="849600"/>
                    </a:lnTo>
                    <a:lnTo>
                      <a:pt x="203662" y="849600"/>
                    </a:lnTo>
                    <a:lnTo>
                      <a:pt x="237605" y="849600"/>
                    </a:lnTo>
                    <a:lnTo>
                      <a:pt x="271549" y="849600"/>
                    </a:lnTo>
                    <a:lnTo>
                      <a:pt x="305492" y="849600"/>
                    </a:lnTo>
                    <a:lnTo>
                      <a:pt x="339436" y="849600"/>
                    </a:lnTo>
                    <a:lnTo>
                      <a:pt x="373784" y="849600"/>
                    </a:lnTo>
                    <a:lnTo>
                      <a:pt x="407727" y="849600"/>
                    </a:lnTo>
                    <a:lnTo>
                      <a:pt x="441671" y="849600"/>
                    </a:lnTo>
                    <a:lnTo>
                      <a:pt x="475614" y="849600"/>
                    </a:lnTo>
                    <a:lnTo>
                      <a:pt x="509558" y="849600"/>
                    </a:lnTo>
                    <a:lnTo>
                      <a:pt x="543502" y="849600"/>
                    </a:lnTo>
                    <a:lnTo>
                      <a:pt x="577445" y="849600"/>
                    </a:lnTo>
                    <a:lnTo>
                      <a:pt x="611389" y="849600"/>
                    </a:lnTo>
                    <a:lnTo>
                      <a:pt x="645332" y="849600"/>
                    </a:lnTo>
                    <a:lnTo>
                      <a:pt x="679276" y="849600"/>
                    </a:lnTo>
                    <a:lnTo>
                      <a:pt x="713220" y="849600"/>
                    </a:lnTo>
                    <a:lnTo>
                      <a:pt x="747567" y="849600"/>
                    </a:lnTo>
                    <a:lnTo>
                      <a:pt x="747567" y="815656"/>
                    </a:lnTo>
                    <a:lnTo>
                      <a:pt x="781511" y="815656"/>
                    </a:lnTo>
                    <a:lnTo>
                      <a:pt x="781511" y="781713"/>
                    </a:lnTo>
                    <a:lnTo>
                      <a:pt x="815454" y="781713"/>
                    </a:lnTo>
                    <a:lnTo>
                      <a:pt x="815454" y="747567"/>
                    </a:lnTo>
                    <a:lnTo>
                      <a:pt x="849600" y="747567"/>
                    </a:lnTo>
                    <a:lnTo>
                      <a:pt x="849600" y="713624"/>
                    </a:lnTo>
                    <a:lnTo>
                      <a:pt x="849600" y="679680"/>
                    </a:lnTo>
                    <a:lnTo>
                      <a:pt x="849600" y="645736"/>
                    </a:lnTo>
                    <a:lnTo>
                      <a:pt x="849600" y="611793"/>
                    </a:lnTo>
                    <a:lnTo>
                      <a:pt x="849600" y="577849"/>
                    </a:lnTo>
                    <a:lnTo>
                      <a:pt x="849600" y="543906"/>
                    </a:lnTo>
                    <a:lnTo>
                      <a:pt x="849600" y="509962"/>
                    </a:lnTo>
                    <a:lnTo>
                      <a:pt x="849600" y="476018"/>
                    </a:lnTo>
                    <a:lnTo>
                      <a:pt x="849600" y="442075"/>
                    </a:lnTo>
                    <a:lnTo>
                      <a:pt x="849600" y="408131"/>
                    </a:lnTo>
                    <a:lnTo>
                      <a:pt x="849600" y="373784"/>
                    </a:lnTo>
                    <a:lnTo>
                      <a:pt x="849600" y="339840"/>
                    </a:lnTo>
                    <a:lnTo>
                      <a:pt x="849600" y="305896"/>
                    </a:lnTo>
                    <a:lnTo>
                      <a:pt x="849600" y="271953"/>
                    </a:lnTo>
                    <a:lnTo>
                      <a:pt x="849600" y="238009"/>
                    </a:lnTo>
                    <a:lnTo>
                      <a:pt x="849600" y="204066"/>
                    </a:lnTo>
                    <a:lnTo>
                      <a:pt x="849600" y="170122"/>
                    </a:lnTo>
                    <a:lnTo>
                      <a:pt x="849600" y="136178"/>
                    </a:lnTo>
                    <a:lnTo>
                      <a:pt x="849600" y="102235"/>
                    </a:lnTo>
                    <a:lnTo>
                      <a:pt x="815555" y="102235"/>
                    </a:lnTo>
                    <a:close/>
                    <a:moveTo>
                      <a:pt x="713624" y="475715"/>
                    </a:moveTo>
                    <a:lnTo>
                      <a:pt x="713624" y="509659"/>
                    </a:lnTo>
                    <a:lnTo>
                      <a:pt x="713624" y="543603"/>
                    </a:lnTo>
                    <a:lnTo>
                      <a:pt x="713624" y="577546"/>
                    </a:lnTo>
                    <a:lnTo>
                      <a:pt x="713624" y="611490"/>
                    </a:lnTo>
                    <a:lnTo>
                      <a:pt x="679680" y="611490"/>
                    </a:lnTo>
                    <a:lnTo>
                      <a:pt x="679680" y="645433"/>
                    </a:lnTo>
                    <a:lnTo>
                      <a:pt x="645736" y="645433"/>
                    </a:lnTo>
                    <a:lnTo>
                      <a:pt x="645736" y="679377"/>
                    </a:lnTo>
                    <a:lnTo>
                      <a:pt x="611793" y="679377"/>
                    </a:lnTo>
                    <a:lnTo>
                      <a:pt x="577849" y="679377"/>
                    </a:lnTo>
                    <a:lnTo>
                      <a:pt x="577849" y="713321"/>
                    </a:lnTo>
                    <a:lnTo>
                      <a:pt x="543906" y="713321"/>
                    </a:lnTo>
                    <a:lnTo>
                      <a:pt x="509962" y="713321"/>
                    </a:lnTo>
                    <a:lnTo>
                      <a:pt x="476018" y="713321"/>
                    </a:lnTo>
                    <a:lnTo>
                      <a:pt x="442075" y="713321"/>
                    </a:lnTo>
                    <a:lnTo>
                      <a:pt x="408131" y="713321"/>
                    </a:lnTo>
                    <a:lnTo>
                      <a:pt x="373784" y="713321"/>
                    </a:lnTo>
                    <a:lnTo>
                      <a:pt x="339840" y="713321"/>
                    </a:lnTo>
                    <a:lnTo>
                      <a:pt x="305896" y="713321"/>
                    </a:lnTo>
                    <a:lnTo>
                      <a:pt x="271953" y="713321"/>
                    </a:lnTo>
                    <a:lnTo>
                      <a:pt x="271953" y="679377"/>
                    </a:lnTo>
                    <a:lnTo>
                      <a:pt x="238009" y="679377"/>
                    </a:lnTo>
                    <a:lnTo>
                      <a:pt x="238009" y="645433"/>
                    </a:lnTo>
                    <a:lnTo>
                      <a:pt x="204066" y="645433"/>
                    </a:lnTo>
                    <a:lnTo>
                      <a:pt x="204066" y="611490"/>
                    </a:lnTo>
                    <a:lnTo>
                      <a:pt x="170122" y="611490"/>
                    </a:lnTo>
                    <a:lnTo>
                      <a:pt x="170122" y="577546"/>
                    </a:lnTo>
                    <a:lnTo>
                      <a:pt x="170122" y="543603"/>
                    </a:lnTo>
                    <a:lnTo>
                      <a:pt x="170122" y="509659"/>
                    </a:lnTo>
                    <a:lnTo>
                      <a:pt x="170122" y="475715"/>
                    </a:lnTo>
                    <a:lnTo>
                      <a:pt x="170122" y="441772"/>
                    </a:lnTo>
                    <a:lnTo>
                      <a:pt x="170122" y="407828"/>
                    </a:lnTo>
                    <a:lnTo>
                      <a:pt x="170122" y="373784"/>
                    </a:lnTo>
                    <a:lnTo>
                      <a:pt x="170122" y="339840"/>
                    </a:lnTo>
                    <a:lnTo>
                      <a:pt x="170122" y="305896"/>
                    </a:lnTo>
                    <a:lnTo>
                      <a:pt x="170122" y="271953"/>
                    </a:lnTo>
                    <a:lnTo>
                      <a:pt x="170122" y="238009"/>
                    </a:lnTo>
                    <a:lnTo>
                      <a:pt x="204066" y="238009"/>
                    </a:lnTo>
                    <a:lnTo>
                      <a:pt x="204066" y="204066"/>
                    </a:lnTo>
                    <a:lnTo>
                      <a:pt x="238009" y="204066"/>
                    </a:lnTo>
                    <a:lnTo>
                      <a:pt x="238009" y="170122"/>
                    </a:lnTo>
                    <a:lnTo>
                      <a:pt x="271953" y="170122"/>
                    </a:lnTo>
                    <a:lnTo>
                      <a:pt x="305896" y="170122"/>
                    </a:lnTo>
                    <a:lnTo>
                      <a:pt x="339840" y="170122"/>
                    </a:lnTo>
                    <a:lnTo>
                      <a:pt x="373784" y="170122"/>
                    </a:lnTo>
                    <a:lnTo>
                      <a:pt x="407727" y="170122"/>
                    </a:lnTo>
                    <a:lnTo>
                      <a:pt x="441671" y="170122"/>
                    </a:lnTo>
                    <a:lnTo>
                      <a:pt x="475614" y="170122"/>
                    </a:lnTo>
                    <a:lnTo>
                      <a:pt x="509558" y="170122"/>
                    </a:lnTo>
                    <a:lnTo>
                      <a:pt x="509558" y="204066"/>
                    </a:lnTo>
                    <a:lnTo>
                      <a:pt x="543502" y="204066"/>
                    </a:lnTo>
                    <a:lnTo>
                      <a:pt x="543502" y="238009"/>
                    </a:lnTo>
                    <a:lnTo>
                      <a:pt x="577445" y="238009"/>
                    </a:lnTo>
                    <a:lnTo>
                      <a:pt x="577445" y="271953"/>
                    </a:lnTo>
                    <a:lnTo>
                      <a:pt x="611389" y="271953"/>
                    </a:lnTo>
                    <a:lnTo>
                      <a:pt x="611389" y="305896"/>
                    </a:lnTo>
                    <a:lnTo>
                      <a:pt x="611389" y="339840"/>
                    </a:lnTo>
                    <a:lnTo>
                      <a:pt x="577445" y="339840"/>
                    </a:lnTo>
                    <a:lnTo>
                      <a:pt x="577445" y="373784"/>
                    </a:lnTo>
                    <a:lnTo>
                      <a:pt x="577445" y="407727"/>
                    </a:lnTo>
                    <a:lnTo>
                      <a:pt x="611389" y="407727"/>
                    </a:lnTo>
                    <a:lnTo>
                      <a:pt x="645332" y="407727"/>
                    </a:lnTo>
                    <a:lnTo>
                      <a:pt x="679276" y="407727"/>
                    </a:lnTo>
                    <a:lnTo>
                      <a:pt x="679276" y="441671"/>
                    </a:lnTo>
                    <a:lnTo>
                      <a:pt x="713220" y="441671"/>
                    </a:lnTo>
                    <a:lnTo>
                      <a:pt x="713220" y="475715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3A19CBAC-06D6-CD0B-B572-77B8A2A6C5A8}"/>
                  </a:ext>
                </a:extLst>
              </p:cNvPr>
              <p:cNvSpPr/>
              <p:nvPr/>
            </p:nvSpPr>
            <p:spPr>
              <a:xfrm>
                <a:off x="-3510205" y="3866906"/>
                <a:ext cx="271851" cy="67887"/>
              </a:xfrm>
              <a:custGeom>
                <a:avLst/>
                <a:gdLst>
                  <a:gd name="connsiteX0" fmla="*/ 203965 w 271851"/>
                  <a:gd name="connsiteY0" fmla="*/ 0 h 67887"/>
                  <a:gd name="connsiteX1" fmla="*/ 169920 w 271851"/>
                  <a:gd name="connsiteY1" fmla="*/ 0 h 67887"/>
                  <a:gd name="connsiteX2" fmla="*/ 135976 w 271851"/>
                  <a:gd name="connsiteY2" fmla="*/ 0 h 67887"/>
                  <a:gd name="connsiteX3" fmla="*/ 102033 w 271851"/>
                  <a:gd name="connsiteY3" fmla="*/ 0 h 67887"/>
                  <a:gd name="connsiteX4" fmla="*/ 67988 w 271851"/>
                  <a:gd name="connsiteY4" fmla="*/ 0 h 67887"/>
                  <a:gd name="connsiteX5" fmla="*/ 34045 w 271851"/>
                  <a:gd name="connsiteY5" fmla="*/ 0 h 67887"/>
                  <a:gd name="connsiteX6" fmla="*/ 0 w 271851"/>
                  <a:gd name="connsiteY6" fmla="*/ 0 h 67887"/>
                  <a:gd name="connsiteX7" fmla="*/ 0 w 271851"/>
                  <a:gd name="connsiteY7" fmla="*/ 33944 h 67887"/>
                  <a:gd name="connsiteX8" fmla="*/ 0 w 271851"/>
                  <a:gd name="connsiteY8" fmla="*/ 67887 h 67887"/>
                  <a:gd name="connsiteX9" fmla="*/ 34045 w 271851"/>
                  <a:gd name="connsiteY9" fmla="*/ 67887 h 67887"/>
                  <a:gd name="connsiteX10" fmla="*/ 67988 w 271851"/>
                  <a:gd name="connsiteY10" fmla="*/ 67887 h 67887"/>
                  <a:gd name="connsiteX11" fmla="*/ 102033 w 271851"/>
                  <a:gd name="connsiteY11" fmla="*/ 67887 h 67887"/>
                  <a:gd name="connsiteX12" fmla="*/ 135976 w 271851"/>
                  <a:gd name="connsiteY12" fmla="*/ 67887 h 67887"/>
                  <a:gd name="connsiteX13" fmla="*/ 169920 w 271851"/>
                  <a:gd name="connsiteY13" fmla="*/ 67887 h 67887"/>
                  <a:gd name="connsiteX14" fmla="*/ 203965 w 271851"/>
                  <a:gd name="connsiteY14" fmla="*/ 67887 h 67887"/>
                  <a:gd name="connsiteX15" fmla="*/ 237908 w 271851"/>
                  <a:gd name="connsiteY15" fmla="*/ 67887 h 67887"/>
                  <a:gd name="connsiteX16" fmla="*/ 271852 w 271851"/>
                  <a:gd name="connsiteY16" fmla="*/ 67887 h 67887"/>
                  <a:gd name="connsiteX17" fmla="*/ 271852 w 271851"/>
                  <a:gd name="connsiteY17" fmla="*/ 33944 h 67887"/>
                  <a:gd name="connsiteX18" fmla="*/ 271852 w 271851"/>
                  <a:gd name="connsiteY18" fmla="*/ 0 h 67887"/>
                  <a:gd name="connsiteX19" fmla="*/ 237908 w 271851"/>
                  <a:gd name="connsiteY19" fmla="*/ 0 h 6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71851" h="67887">
                    <a:moveTo>
                      <a:pt x="203965" y="0"/>
                    </a:move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3944"/>
                    </a:lnTo>
                    <a:lnTo>
                      <a:pt x="0" y="67887"/>
                    </a:lnTo>
                    <a:lnTo>
                      <a:pt x="34045" y="67887"/>
                    </a:lnTo>
                    <a:lnTo>
                      <a:pt x="67988" y="67887"/>
                    </a:lnTo>
                    <a:lnTo>
                      <a:pt x="102033" y="67887"/>
                    </a:lnTo>
                    <a:lnTo>
                      <a:pt x="135976" y="67887"/>
                    </a:lnTo>
                    <a:lnTo>
                      <a:pt x="169920" y="67887"/>
                    </a:lnTo>
                    <a:lnTo>
                      <a:pt x="203965" y="67887"/>
                    </a:lnTo>
                    <a:lnTo>
                      <a:pt x="237908" y="67887"/>
                    </a:lnTo>
                    <a:lnTo>
                      <a:pt x="271852" y="67887"/>
                    </a:lnTo>
                    <a:lnTo>
                      <a:pt x="271852" y="33944"/>
                    </a:lnTo>
                    <a:lnTo>
                      <a:pt x="271852" y="0"/>
                    </a:lnTo>
                    <a:lnTo>
                      <a:pt x="2379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24FF2CA4-0EA1-AF2F-4501-3219E960D69E}"/>
                  </a:ext>
                </a:extLst>
              </p:cNvPr>
              <p:cNvSpPr/>
              <p:nvPr/>
            </p:nvSpPr>
            <p:spPr>
              <a:xfrm>
                <a:off x="-3510205" y="3662941"/>
                <a:ext cx="169919" cy="67988"/>
              </a:xfrm>
              <a:custGeom>
                <a:avLst/>
                <a:gdLst>
                  <a:gd name="connsiteX0" fmla="*/ 67988 w 169919"/>
                  <a:gd name="connsiteY0" fmla="*/ 67988 h 67988"/>
                  <a:gd name="connsiteX1" fmla="*/ 102033 w 169919"/>
                  <a:gd name="connsiteY1" fmla="*/ 67988 h 67988"/>
                  <a:gd name="connsiteX2" fmla="*/ 135976 w 169919"/>
                  <a:gd name="connsiteY2" fmla="*/ 67988 h 67988"/>
                  <a:gd name="connsiteX3" fmla="*/ 169920 w 169919"/>
                  <a:gd name="connsiteY3" fmla="*/ 67988 h 67988"/>
                  <a:gd name="connsiteX4" fmla="*/ 169920 w 169919"/>
                  <a:gd name="connsiteY4" fmla="*/ 34045 h 67988"/>
                  <a:gd name="connsiteX5" fmla="*/ 169920 w 169919"/>
                  <a:gd name="connsiteY5" fmla="*/ 0 h 67988"/>
                  <a:gd name="connsiteX6" fmla="*/ 135976 w 169919"/>
                  <a:gd name="connsiteY6" fmla="*/ 0 h 67988"/>
                  <a:gd name="connsiteX7" fmla="*/ 102033 w 169919"/>
                  <a:gd name="connsiteY7" fmla="*/ 0 h 67988"/>
                  <a:gd name="connsiteX8" fmla="*/ 67988 w 169919"/>
                  <a:gd name="connsiteY8" fmla="*/ 0 h 67988"/>
                  <a:gd name="connsiteX9" fmla="*/ 34045 w 169919"/>
                  <a:gd name="connsiteY9" fmla="*/ 0 h 67988"/>
                  <a:gd name="connsiteX10" fmla="*/ 0 w 169919"/>
                  <a:gd name="connsiteY10" fmla="*/ 0 h 67988"/>
                  <a:gd name="connsiteX11" fmla="*/ 0 w 169919"/>
                  <a:gd name="connsiteY11" fmla="*/ 34045 h 67988"/>
                  <a:gd name="connsiteX12" fmla="*/ 0 w 169919"/>
                  <a:gd name="connsiteY12" fmla="*/ 67988 h 67988"/>
                  <a:gd name="connsiteX13" fmla="*/ 34045 w 169919"/>
                  <a:gd name="connsiteY13" fmla="*/ 67988 h 6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9919" h="67988">
                    <a:moveTo>
                      <a:pt x="67988" y="67988"/>
                    </a:moveTo>
                    <a:lnTo>
                      <a:pt x="102033" y="67988"/>
                    </a:lnTo>
                    <a:lnTo>
                      <a:pt x="135976" y="67988"/>
                    </a:lnTo>
                    <a:lnTo>
                      <a:pt x="169920" y="67988"/>
                    </a:lnTo>
                    <a:lnTo>
                      <a:pt x="169920" y="34045"/>
                    </a:lnTo>
                    <a:lnTo>
                      <a:pt x="169920" y="0"/>
                    </a:lnTo>
                    <a:lnTo>
                      <a:pt x="135976" y="0"/>
                    </a:lnTo>
                    <a:lnTo>
                      <a:pt x="102033" y="0"/>
                    </a:lnTo>
                    <a:lnTo>
                      <a:pt x="67988" y="0"/>
                    </a:lnTo>
                    <a:lnTo>
                      <a:pt x="34045" y="0"/>
                    </a:lnTo>
                    <a:lnTo>
                      <a:pt x="0" y="0"/>
                    </a:lnTo>
                    <a:lnTo>
                      <a:pt x="0" y="34045"/>
                    </a:lnTo>
                    <a:lnTo>
                      <a:pt x="0" y="67988"/>
                    </a:lnTo>
                    <a:lnTo>
                      <a:pt x="34045" y="67988"/>
                    </a:lnTo>
                    <a:close/>
                  </a:path>
                </a:pathLst>
              </a:custGeom>
              <a:solidFill>
                <a:srgbClr val="000000"/>
              </a:solidFill>
              <a:ln w="10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600"/>
              </a:p>
            </p:txBody>
          </p:sp>
        </p:grp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4A6A0E24-C642-5C27-E6BE-6AB6BDCCE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712" y="3939257"/>
            <a:ext cx="759469" cy="47068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744CB04B-0B9E-F3B5-2727-63EB4FCB8941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6" name="Picture 55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CC9055A4-4272-1062-D65C-98DF10FCAC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870" y="2086575"/>
            <a:ext cx="1767478" cy="1767478"/>
          </a:xfrm>
          <a:prstGeom prst="rect">
            <a:avLst/>
          </a:prstGeom>
        </p:spPr>
      </p:pic>
      <p:pic>
        <p:nvPicPr>
          <p:cNvPr id="57" name="Picture 56" descr="A logo with orange and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50BFA4D-E41C-7C05-7AE4-221EDD4FE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12785" y="4231650"/>
            <a:ext cx="1567499" cy="1011148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EBA406-336B-63FB-C353-14F9C7EA9518}"/>
              </a:ext>
            </a:extLst>
          </p:cNvPr>
          <p:cNvGrpSpPr/>
          <p:nvPr/>
        </p:nvGrpSpPr>
        <p:grpSpPr>
          <a:xfrm>
            <a:off x="5253217" y="1927169"/>
            <a:ext cx="3905687" cy="3573947"/>
            <a:chOff x="4773977" y="1927169"/>
            <a:chExt cx="3905687" cy="3573947"/>
          </a:xfrm>
        </p:grpSpPr>
        <p:pic>
          <p:nvPicPr>
            <p:cNvPr id="60" name="Picture 59" descr="A computer screen with a blue screen&#10;&#10;Description automatically generated">
              <a:extLst>
                <a:ext uri="{FF2B5EF4-FFF2-40B4-BE49-F238E27FC236}">
                  <a16:creationId xmlns:a16="http://schemas.microsoft.com/office/drawing/2014/main" id="{F11525D0-447C-2CD4-F8E9-F45E795DB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73977" y="1927169"/>
              <a:ext cx="3905687" cy="3573947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7051C6D-78B1-59B7-B9BC-3EBEC011A325}"/>
                </a:ext>
              </a:extLst>
            </p:cNvPr>
            <p:cNvSpPr/>
            <p:nvPr/>
          </p:nvSpPr>
          <p:spPr>
            <a:xfrm>
              <a:off x="5620241" y="2482055"/>
              <a:ext cx="2080350" cy="817158"/>
            </a:xfrm>
            <a:prstGeom prst="rect">
              <a:avLst/>
            </a:prstGeom>
            <a:solidFill>
              <a:srgbClr val="01418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F421D3E-7995-26AF-CF10-33BB35995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8482" y="2655817"/>
              <a:ext cx="1218766" cy="491726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6696D23-0EF0-7C20-D99D-C68772852727}"/>
                </a:ext>
              </a:extLst>
            </p:cNvPr>
            <p:cNvSpPr/>
            <p:nvPr/>
          </p:nvSpPr>
          <p:spPr>
            <a:xfrm>
              <a:off x="5609728" y="3296832"/>
              <a:ext cx="2080350" cy="81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 </a:t>
              </a:r>
            </a:p>
          </p:txBody>
        </p:sp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F88F488C-16AD-9784-A4AE-1BF536324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9679" y="3361158"/>
              <a:ext cx="1217568" cy="68689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525E048-F11C-88F7-7DCF-4621B519458A}"/>
              </a:ext>
            </a:extLst>
          </p:cNvPr>
          <p:cNvSpPr txBox="1"/>
          <p:nvPr/>
        </p:nvSpPr>
        <p:spPr>
          <a:xfrm>
            <a:off x="6044317" y="2420599"/>
            <a:ext cx="10030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  <a:latin typeface="Consolas" panose="020B0609020204030204" pitchFamily="49" charset="0"/>
              </a:rPr>
              <a:t>former</a:t>
            </a:r>
            <a:endParaRPr lang="nl-BE" sz="1600" dirty="0">
              <a:solidFill>
                <a:srgbClr val="FF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CD9F74-2CE8-C4BB-A240-FE9602113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3B7168C6-4E43-6BEE-946C-122663566E57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52DA2AF-F67D-B695-E7D0-055569A90749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A7AA067-475A-3B09-8F48-E289372CF63D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65D1CABF-D4E8-4714-0034-9BB7B71380EE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EA9DA33-9952-6742-A313-BF35A8A11BC6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3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34E1B1F-8476-6740-7837-F5C571BE0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E7B318C-FB28-DF4F-C8A0-61EB66643621}"/>
              </a:ext>
            </a:extLst>
          </p:cNvPr>
          <p:cNvSpPr txBox="1"/>
          <p:nvPr/>
        </p:nvSpPr>
        <p:spPr>
          <a:xfrm>
            <a:off x="1074298" y="743293"/>
            <a:ext cx="78425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4B28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usinessEntityI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LastNam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FirstNam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Title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FROM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erson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.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erson</a:t>
            </a:r>
            <a:b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</a:b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stNam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 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'V%'</a:t>
            </a:r>
            <a:r>
              <a:rPr kumimoji="0" lang="nl-BE" sz="2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B3B30BF-B442-C4B8-D795-29BE32CB9436}"/>
              </a:ext>
            </a:extLst>
          </p:cNvPr>
          <p:cNvCxnSpPr>
            <a:cxnSpLocks/>
          </p:cNvCxnSpPr>
          <p:nvPr/>
        </p:nvCxnSpPr>
        <p:spPr>
          <a:xfrm>
            <a:off x="6859258" y="4178923"/>
            <a:ext cx="0" cy="132843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183299B-C358-FFC3-6CDA-1F2AF2FC1F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8192" y="2291601"/>
            <a:ext cx="3398815" cy="18213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42CF31A-01F0-6814-EF97-FE43DB564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007" y="3709553"/>
            <a:ext cx="3939881" cy="40389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AA78FAA-21A2-0476-E524-5DBBAABA52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8191" y="4622781"/>
            <a:ext cx="3398813" cy="12521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4FE8E4F-1DFE-AB80-6299-7B612A6D3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7007" y="5507360"/>
            <a:ext cx="3939880" cy="3676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AA1B19F-4B9C-D46C-56A4-3D864D938C9A}"/>
              </a:ext>
            </a:extLst>
          </p:cNvPr>
          <p:cNvSpPr/>
          <p:nvPr/>
        </p:nvSpPr>
        <p:spPr>
          <a:xfrm>
            <a:off x="6731512" y="3794459"/>
            <a:ext cx="1178911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CBEFAE-CBE1-F77C-0B20-9F1C6E6DFBF9}"/>
              </a:ext>
            </a:extLst>
          </p:cNvPr>
          <p:cNvSpPr/>
          <p:nvPr/>
        </p:nvSpPr>
        <p:spPr>
          <a:xfrm>
            <a:off x="6731512" y="5518619"/>
            <a:ext cx="1101273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308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05F2A-BB6A-86E0-DF1D-A20400FEC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 keys are in every NCI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2A2A-7979-4779-A7C8-7BDC303251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otice how the column </a:t>
            </a:r>
            <a:r>
              <a:rPr lang="nl-BE" dirty="0" err="1"/>
              <a:t>BusinessEntityID</a:t>
            </a:r>
            <a:r>
              <a:rPr lang="nl-BE" dirty="0"/>
              <a:t> </a:t>
            </a:r>
            <a:r>
              <a:rPr lang="nl-BE" dirty="0" err="1"/>
              <a:t>wasn’t</a:t>
            </a:r>
            <a:r>
              <a:rPr lang="nl-BE" dirty="0"/>
              <a:t> </a:t>
            </a:r>
            <a:r>
              <a:rPr lang="nl-BE" dirty="0" err="1"/>
              <a:t>included</a:t>
            </a:r>
            <a:r>
              <a:rPr lang="nl-BE" dirty="0"/>
              <a:t>, </a:t>
            </a:r>
            <a:r>
              <a:rPr lang="nl-BE" dirty="0" err="1"/>
              <a:t>yet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index was </a:t>
            </a:r>
            <a:r>
              <a:rPr lang="nl-BE" dirty="0" err="1"/>
              <a:t>still</a:t>
            </a:r>
            <a:r>
              <a:rPr lang="nl-BE" dirty="0"/>
              <a:t> </a:t>
            </a:r>
            <a:r>
              <a:rPr lang="nl-BE" dirty="0" err="1"/>
              <a:t>covering</a:t>
            </a:r>
            <a:r>
              <a:rPr lang="nl-BE" dirty="0"/>
              <a:t>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3B3E6D-6555-B2D8-07C2-31AAB9100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327432"/>
            <a:ext cx="9188415" cy="173656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6FA9567-13BB-2258-E3C4-0CD6786B5BD6}"/>
              </a:ext>
            </a:extLst>
          </p:cNvPr>
          <p:cNvSpPr/>
          <p:nvPr/>
        </p:nvSpPr>
        <p:spPr>
          <a:xfrm>
            <a:off x="1481666" y="2497666"/>
            <a:ext cx="1574801" cy="3048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487944-9D8E-24B5-5C23-2A98B4DD0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8780" y="4401972"/>
            <a:ext cx="3276884" cy="197375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ECBCA0-1EDF-0946-0CC1-1884706FC270}"/>
              </a:ext>
            </a:extLst>
          </p:cNvPr>
          <p:cNvSpPr/>
          <p:nvPr/>
        </p:nvSpPr>
        <p:spPr>
          <a:xfrm>
            <a:off x="6049181" y="4934419"/>
            <a:ext cx="389466" cy="466570"/>
          </a:xfrm>
          <a:prstGeom prst="rect">
            <a:avLst/>
          </a:prstGeom>
          <a:noFill/>
          <a:ln w="38100">
            <a:solidFill>
              <a:srgbClr val="033EC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4734D42-79F4-C417-459C-3EE403DBEAE8}"/>
              </a:ext>
            </a:extLst>
          </p:cNvPr>
          <p:cNvCxnSpPr>
            <a:cxnSpLocks/>
          </p:cNvCxnSpPr>
          <p:nvPr/>
        </p:nvCxnSpPr>
        <p:spPr>
          <a:xfrm flipH="1">
            <a:off x="6468279" y="4425724"/>
            <a:ext cx="939809" cy="677334"/>
          </a:xfrm>
          <a:prstGeom prst="straightConnector1">
            <a:avLst/>
          </a:prstGeom>
          <a:ln w="38100">
            <a:solidFill>
              <a:srgbClr val="033E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1FE4663-E3BF-7560-2BDC-199C1AD0AFC9}"/>
              </a:ext>
            </a:extLst>
          </p:cNvPr>
          <p:cNvSpPr txBox="1"/>
          <p:nvPr/>
        </p:nvSpPr>
        <p:spPr>
          <a:xfrm>
            <a:off x="7533215" y="3816987"/>
            <a:ext cx="2899551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33EC1"/>
                </a:solidFill>
              </a:rPr>
              <a:t>row locator</a:t>
            </a:r>
            <a:br>
              <a:rPr lang="en-US" sz="2400" dirty="0">
                <a:solidFill>
                  <a:srgbClr val="033EC1"/>
                </a:solidFill>
              </a:rPr>
            </a:br>
            <a:r>
              <a:rPr lang="en-US" dirty="0">
                <a:solidFill>
                  <a:srgbClr val="033EC1"/>
                </a:solidFill>
              </a:rPr>
              <a:t>heap: row ID</a:t>
            </a:r>
          </a:p>
          <a:p>
            <a:r>
              <a:rPr lang="en-US" dirty="0">
                <a:solidFill>
                  <a:srgbClr val="033EC1"/>
                </a:solidFill>
              </a:rPr>
              <a:t>CI: index keys</a:t>
            </a:r>
            <a:endParaRPr lang="nl-BE" dirty="0">
              <a:solidFill>
                <a:srgbClr val="033E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9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5934A-9D2E-0864-F298-9D4323586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46C938-9504-CBFC-4BCF-1FC5D8CC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lumn order matters!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	is not the same 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0C6E12-A107-443F-F0DB-85AB229E27D6}"/>
              </a:ext>
            </a:extLst>
          </p:cNvPr>
          <p:cNvSpPr txBox="1"/>
          <p:nvPr/>
        </p:nvSpPr>
        <p:spPr>
          <a:xfrm>
            <a:off x="1726323" y="2055001"/>
            <a:ext cx="7743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NCI_1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)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0DDAFC-9042-89F4-5BDD-6B6307846937}"/>
              </a:ext>
            </a:extLst>
          </p:cNvPr>
          <p:cNvSpPr txBox="1"/>
          <p:nvPr/>
        </p:nvSpPr>
        <p:spPr>
          <a:xfrm>
            <a:off x="1726323" y="3413058"/>
            <a:ext cx="77434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CREATE NONCLUSTERED INDEX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NCI_2</a:t>
            </a:r>
            <a:b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</a:b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  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 </a:t>
            </a:r>
            <a:r>
              <a:rPr lang="nl-BE" dirty="0" err="1">
                <a:solidFill>
                  <a:srgbClr val="002060"/>
                </a:solidFill>
                <a:latin typeface="Consolas" panose="020B0609020204030204" pitchFamily="49" charset="0"/>
              </a:rPr>
              <a:t>myschema.mytable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(column2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</a:t>
            </a:r>
            <a:r>
              <a:rPr lang="nl-BE" dirty="0">
                <a:solidFill>
                  <a:srgbClr val="002060"/>
                </a:solidFill>
                <a:latin typeface="Consolas" panose="020B0609020204030204" pitchFamily="49" charset="0"/>
              </a:rPr>
              <a:t>, column1 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ASC)</a:t>
            </a:r>
            <a:endParaRPr lang="nl-B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A75219-BCFC-2120-E294-D79BCE6BD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323" y="4701092"/>
            <a:ext cx="7915550" cy="167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0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CEFD8-C5B0-442A-8563-8095034BF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B4D82-3116-6661-D710-D618A5A375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heck out (but don’t trust) </a:t>
            </a:r>
            <a:r>
              <a:rPr lang="en-US" b="1" dirty="0"/>
              <a:t>missing index suggestions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r>
              <a:rPr lang="nl-BE" dirty="0"/>
              <a:t>DMV query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find</a:t>
            </a:r>
            <a:r>
              <a:rPr lang="nl-BE" dirty="0"/>
              <a:t> </a:t>
            </a:r>
            <a:r>
              <a:rPr lang="nl-BE" dirty="0" err="1"/>
              <a:t>all</a:t>
            </a:r>
            <a:r>
              <a:rPr lang="nl-BE" dirty="0"/>
              <a:t> missing </a:t>
            </a:r>
            <a:r>
              <a:rPr lang="nl-BE" dirty="0" err="1"/>
              <a:t>indexes</a:t>
            </a:r>
            <a:r>
              <a:rPr lang="nl-BE" dirty="0"/>
              <a:t> in </a:t>
            </a:r>
            <a:r>
              <a:rPr lang="nl-BE" dirty="0">
                <a:hlinkClick r:id="rId2"/>
              </a:rPr>
              <a:t>MS </a:t>
            </a:r>
            <a:r>
              <a:rPr lang="nl-BE" dirty="0" err="1">
                <a:hlinkClick r:id="rId2"/>
              </a:rPr>
              <a:t>Lear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8A960C-CB72-7DDA-7826-90C8AD2413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001" y="2060377"/>
            <a:ext cx="7915550" cy="16746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3B1FF1-40D8-BEAE-658E-8714C3340067}"/>
              </a:ext>
            </a:extLst>
          </p:cNvPr>
          <p:cNvSpPr/>
          <p:nvPr/>
        </p:nvSpPr>
        <p:spPr>
          <a:xfrm>
            <a:off x="1230842" y="2207130"/>
            <a:ext cx="8192558" cy="46833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A9E566-B4B0-84C6-06B9-E58608E6CA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3536" y="3735008"/>
            <a:ext cx="4892464" cy="14860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234259B-6A55-9587-AD37-C51F039374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1336" y="4823037"/>
            <a:ext cx="4811178" cy="989860"/>
          </a:xfrm>
          <a:prstGeom prst="rect">
            <a:avLst/>
          </a:prstGeom>
        </p:spPr>
      </p:pic>
      <p:pic>
        <p:nvPicPr>
          <p:cNvPr id="1026" name="Picture 2" descr="Remember the disappointed Pak fan meme guy? He is a manager at a popular  MNC - India Today">
            <a:extLst>
              <a:ext uri="{FF2B5EF4-FFF2-40B4-BE49-F238E27FC236}">
                <a16:creationId xmlns:a16="http://schemas.microsoft.com/office/drawing/2014/main" id="{052F0A7B-C65D-A2F9-7341-5454E6C6BF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1533" y="3311790"/>
            <a:ext cx="2472267" cy="1390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06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0887-2EB3-0C6B-A235-6D24BC3A8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3DB92-3971-6C9C-A4DA-C68355D4D3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SARGable</a:t>
            </a:r>
            <a:r>
              <a:rPr lang="en-US" dirty="0"/>
              <a:t> queries (Search </a:t>
            </a:r>
            <a:r>
              <a:rPr lang="en-US" dirty="0" err="1"/>
              <a:t>ARGument</a:t>
            </a:r>
            <a:r>
              <a:rPr lang="en-US" dirty="0"/>
              <a:t> ABL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rite your predicates in such a way that an index can actually be us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LEFT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V'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sinessEntity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irstName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erson</a:t>
            </a:r>
            <a:b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LastNam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LIK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V%'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59F074-1BFE-F6A3-7F41-1261EDBB5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3955" y="3106460"/>
            <a:ext cx="5814564" cy="3269263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B1497C55-3926-297E-2393-3C5EFEA4E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04362" y="5400989"/>
            <a:ext cx="914400" cy="914400"/>
          </a:xfrm>
          <a:prstGeom prst="rect">
            <a:avLst/>
          </a:prstGeom>
        </p:spPr>
      </p:pic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55B4C172-A9E1-7341-550A-584D44966A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01487" y="339880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23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4875DE-E99D-0081-A9FC-A571A187E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9B162B92-BDA2-CFF9-7BBC-EFDDB14DB475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B869178-6977-3EDB-200F-C273D1145706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7DE3AFFE-231B-AB65-6209-AD395B0131DB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9DF7CD3-D9BD-1C23-82BB-218EAAA216CA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7E6D3DD-886A-189F-C60C-E39C6A59A785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4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8D11603-795C-9556-8C92-30B05EB0B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94EB6A8-5F4D-67D1-77E5-6B7600F8690C}"/>
              </a:ext>
            </a:extLst>
          </p:cNvPr>
          <p:cNvSpPr txBox="1"/>
          <p:nvPr/>
        </p:nvSpPr>
        <p:spPr>
          <a:xfrm>
            <a:off x="332427" y="1571429"/>
            <a:ext cx="51539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Month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ubTotal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YEAR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2012</a:t>
            </a: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E8F853-56C9-BC6A-456F-452CFF762908}"/>
              </a:ext>
            </a:extLst>
          </p:cNvPr>
          <p:cNvSpPr txBox="1"/>
          <p:nvPr/>
        </p:nvSpPr>
        <p:spPr>
          <a:xfrm>
            <a:off x="332427" y="3897686"/>
            <a:ext cx="515397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Month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ubTotal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Header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2012-01-01'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&lt;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2013-01-01'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MONT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B6E011-2EEC-E34F-0DB5-4C751FA373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672" y="2049169"/>
            <a:ext cx="5503151" cy="39688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30ED49-8CAB-39DD-9300-C292C95973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0046" y="3449987"/>
            <a:ext cx="4659777" cy="82772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06B83E7-810B-FA53-68A9-D17F538405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0045" y="5981805"/>
            <a:ext cx="4659777" cy="74347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ABCA234-8250-06D4-74F3-73CD6B32FE7D}"/>
              </a:ext>
            </a:extLst>
          </p:cNvPr>
          <p:cNvSpPr/>
          <p:nvPr/>
        </p:nvSpPr>
        <p:spPr>
          <a:xfrm>
            <a:off x="9701049" y="3986691"/>
            <a:ext cx="1488774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F30CE2F-780E-CD10-2F42-B64A78FA4ED9}"/>
              </a:ext>
            </a:extLst>
          </p:cNvPr>
          <p:cNvSpPr/>
          <p:nvPr/>
        </p:nvSpPr>
        <p:spPr>
          <a:xfrm>
            <a:off x="9701048" y="6421530"/>
            <a:ext cx="1488774" cy="3844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25" name="Graphic 24" descr="Checkmark with solid fill">
            <a:extLst>
              <a:ext uri="{FF2B5EF4-FFF2-40B4-BE49-F238E27FC236}">
                <a16:creationId xmlns:a16="http://schemas.microsoft.com/office/drawing/2014/main" id="{EAAB62FA-6FB5-8361-207B-CBDBD41DDB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32347" y="4848191"/>
            <a:ext cx="914400" cy="914400"/>
          </a:xfrm>
          <a:prstGeom prst="rect">
            <a:avLst/>
          </a:prstGeom>
        </p:spPr>
      </p:pic>
      <p:pic>
        <p:nvPicPr>
          <p:cNvPr id="26" name="Graphic 25" descr="Close with solid fill">
            <a:extLst>
              <a:ext uri="{FF2B5EF4-FFF2-40B4-BE49-F238E27FC236}">
                <a16:creationId xmlns:a16="http://schemas.microsoft.com/office/drawing/2014/main" id="{0964745E-D099-E433-31DD-1C901BA8C1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51556" y="26091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730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4EA29-3521-295D-4147-46AB5595A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1CDD5-7C56-CA53-2A3F-556F9D9A9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18EA-CCF0-F8D5-2E0C-1F23850B0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err="1"/>
              <a:t>SARGable</a:t>
            </a:r>
            <a:r>
              <a:rPr lang="en-US" dirty="0"/>
              <a:t> queries (Search </a:t>
            </a:r>
            <a:r>
              <a:rPr lang="en-US" dirty="0" err="1"/>
              <a:t>ARGument</a:t>
            </a:r>
            <a:r>
              <a:rPr lang="en-US" dirty="0"/>
              <a:t> ABLE)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dirty="0"/>
              <a:t>also be aware of </a:t>
            </a:r>
            <a:r>
              <a:rPr lang="en-US" b="1" dirty="0"/>
              <a:t>implicit conversions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7CDDEB-720F-4C57-8546-84E2B7AECC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4715" y="2729943"/>
            <a:ext cx="3842570" cy="381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5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8819478-B8A0-474A-C542-653DE55AB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9CBCB34-D10E-4F94-9158-8241A02F98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844" y="2109533"/>
            <a:ext cx="7999706" cy="455355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90E0DD60-A8B2-AEA4-A783-89927ABF1A83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B94DCC7-ED53-3031-E535-8019759A51FF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6820A1E-8B9A-C47A-763D-E52433188EF6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223A8CD-B539-E16A-A2BC-2896B9380F53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A5744A5-424D-1B2E-56E8-DCFF826F2D1C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5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3845E28-8282-A75D-C339-6B6836DEE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7575EC4-3591-C289-8425-CD93D6F6B187}"/>
              </a:ext>
            </a:extLst>
          </p:cNvPr>
          <p:cNvSpPr txBox="1"/>
          <p:nvPr/>
        </p:nvSpPr>
        <p:spPr>
          <a:xfrm>
            <a:off x="1032844" y="194915"/>
            <a:ext cx="1014827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FF"/>
                </a:solidFill>
                <a:latin typeface="Consolas" panose="020B0609020204030204" pitchFamily="49" charset="0"/>
              </a:rPr>
              <a:t>COUNT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1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#SalesOrderHeader sh</a:t>
            </a:r>
          </a:p>
          <a:p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#SalesOrderDetail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d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d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h</a:t>
            </a:r>
            <a:r>
              <a:rPr lang="nl-BE" sz="20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endParaRPr lang="nl-BE" sz="2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0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sh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20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OrderID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] 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000" dirty="0">
                <a:solidFill>
                  <a:srgbClr val="FF0000"/>
                </a:solidFill>
                <a:latin typeface="Consolas" panose="020B0609020204030204" pitchFamily="49" charset="0"/>
              </a:rPr>
              <a:t>'43659'</a:t>
            </a:r>
            <a:r>
              <a:rPr lang="nl-BE" sz="20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E8C9FD-819A-D996-8293-666EC56B33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70287" y="3710562"/>
            <a:ext cx="4036697" cy="59859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BAD22CE-8046-716E-B3FF-3CFE45E4AE9E}"/>
              </a:ext>
            </a:extLst>
          </p:cNvPr>
          <p:cNvSpPr/>
          <p:nvPr/>
        </p:nvSpPr>
        <p:spPr>
          <a:xfrm>
            <a:off x="8862646" y="3710562"/>
            <a:ext cx="2327177" cy="6605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F6E5F21-F751-0E7F-3DF4-39D0BD6244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0287" y="5910189"/>
            <a:ext cx="4102632" cy="66059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CACB0F6-E46D-B4E9-5149-DA30B1BB478D}"/>
              </a:ext>
            </a:extLst>
          </p:cNvPr>
          <p:cNvSpPr/>
          <p:nvPr/>
        </p:nvSpPr>
        <p:spPr>
          <a:xfrm>
            <a:off x="9032549" y="5884926"/>
            <a:ext cx="2148573" cy="6605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873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75CE5-44F4-C764-2A81-D66662B57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9C7DD-D9D9-A6F4-2AFA-32A4DB743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I Tips &amp; Tricks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972A37-4E99-541F-78DF-C454EA10D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/>
              <a:t>Filtered Indexes</a:t>
            </a:r>
          </a:p>
          <a:p>
            <a:pPr lvl="1"/>
            <a:r>
              <a:rPr lang="en-US" sz="2000" dirty="0"/>
              <a:t>consume less disk space &amp; less maintenance</a:t>
            </a:r>
          </a:p>
          <a:p>
            <a:pPr lvl="1"/>
            <a:r>
              <a:rPr lang="en-US" sz="2000" dirty="0"/>
              <a:t>queries frequently access only a portion of the data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columns with sparse data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r>
              <a:rPr lang="en-US" sz="2000" dirty="0"/>
              <a:t>uniqueness on a subset of the data</a:t>
            </a:r>
          </a:p>
          <a:p>
            <a:pPr lvl="1"/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AEE2B1-67DA-D9AC-6672-457C8D22D127}"/>
              </a:ext>
            </a:extLst>
          </p:cNvPr>
          <p:cNvSpPr txBox="1"/>
          <p:nvPr/>
        </p:nvSpPr>
        <p:spPr>
          <a:xfrm>
            <a:off x="2007159" y="2737325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Orders_Status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.Order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Dat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nl-BE" sz="1800" dirty="0">
                <a:latin typeface="Consolas" panose="020B0609020204030204" pitchFamily="49" charset="0"/>
              </a:rPr>
              <a:t>Status]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</a:t>
            </a:r>
            <a:r>
              <a:rPr lang="nl-BE" sz="1800" dirty="0" err="1">
                <a:solidFill>
                  <a:srgbClr val="FF0000"/>
                </a:solidFill>
                <a:latin typeface="Consolas" panose="020B0609020204030204" pitchFamily="49" charset="0"/>
              </a:rPr>
              <a:t>Pending</a:t>
            </a:r>
            <a:r>
              <a:rPr lang="nl-BE" sz="1800" dirty="0">
                <a:solidFill>
                  <a:srgbClr val="FF0000"/>
                </a:solidFill>
                <a:latin typeface="Consolas" panose="020B06090202040302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E8F731-7E18-5ACD-80DE-95D0744A84ED}"/>
              </a:ext>
            </a:extLst>
          </p:cNvPr>
          <p:cNvSpPr txBox="1"/>
          <p:nvPr/>
        </p:nvSpPr>
        <p:spPr>
          <a:xfrm>
            <a:off x="2007159" y="4235945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ProductColor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roduct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Colo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or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;</a:t>
            </a:r>
            <a:endParaRPr lang="nl-B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A8AF95-F2EE-5FDA-2A6A-9CF23F12CD1C}"/>
              </a:ext>
            </a:extLst>
          </p:cNvPr>
          <p:cNvSpPr txBox="1"/>
          <p:nvPr/>
        </p:nvSpPr>
        <p:spPr>
          <a:xfrm>
            <a:off x="2007159" y="5713908"/>
            <a:ext cx="620485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X_User_Activ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sActiv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4893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  <p:bldP spid="13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C7DDF7-F1BE-54C7-4774-0526F38731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6790D1-7631-C63D-C1E7-1BCCE00B15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ther Index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69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418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796DB7F-C561-8546-22A0-FBCBE3567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E66ECA-D518-F641-6805-27BD6D301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ch</a:t>
            </a:r>
            <a:endParaRPr lang="nl-BE" dirty="0"/>
          </a:p>
        </p:txBody>
      </p:sp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9F5F2C4B-AA22-F845-9556-C4C7028A8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764" y="-440143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DB2B0FAA-6963-EC30-4E01-B07FDAC4C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1909" y="-350255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raphic 22">
            <a:extLst>
              <a:ext uri="{FF2B5EF4-FFF2-40B4-BE49-F238E27FC236}">
                <a16:creationId xmlns:a16="http://schemas.microsoft.com/office/drawing/2014/main" id="{C534EEDE-238C-2DEF-4AA4-2DCDD386BEED}"/>
              </a:ext>
            </a:extLst>
          </p:cNvPr>
          <p:cNvSpPr/>
          <p:nvPr/>
        </p:nvSpPr>
        <p:spPr>
          <a:xfrm>
            <a:off x="2401908" y="-2558955"/>
            <a:ext cx="1192477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6B7D88-6C03-208B-8684-8CEA673FF784}"/>
              </a:ext>
            </a:extLst>
          </p:cNvPr>
          <p:cNvSpPr/>
          <p:nvPr/>
        </p:nvSpPr>
        <p:spPr>
          <a:xfrm>
            <a:off x="8169319" y="0"/>
            <a:ext cx="4022682" cy="6858000"/>
          </a:xfrm>
          <a:prstGeom prst="rect">
            <a:avLst/>
          </a:prstGeom>
          <a:solidFill>
            <a:srgbClr val="033EC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050" name="Picture 2" descr="front">
            <a:hlinkClick r:id="rId5"/>
            <a:extLst>
              <a:ext uri="{FF2B5EF4-FFF2-40B4-BE49-F238E27FC236}">
                <a16:creationId xmlns:a16="http://schemas.microsoft.com/office/drawing/2014/main" id="{994A7E44-A782-E4C5-50E1-63859D4A7F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1" t="4169" r="2050" b="6856"/>
          <a:stretch>
            <a:fillRect/>
          </a:stretch>
        </p:blipFill>
        <p:spPr bwMode="auto">
          <a:xfrm>
            <a:off x="1995055" y="1549803"/>
            <a:ext cx="2449945" cy="2302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zoom-in front">
            <a:hlinkClick r:id="rId7"/>
            <a:extLst>
              <a:ext uri="{FF2B5EF4-FFF2-40B4-BE49-F238E27FC236}">
                <a16:creationId xmlns:a16="http://schemas.microsoft.com/office/drawing/2014/main" id="{9FB6C035-7F72-A47F-80A0-EA9BB84718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8" t="5211" r="4385" b="6209"/>
          <a:stretch>
            <a:fillRect/>
          </a:stretch>
        </p:blipFill>
        <p:spPr bwMode="auto">
          <a:xfrm>
            <a:off x="5110126" y="1549803"/>
            <a:ext cx="2394066" cy="231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3AC304-B9B2-3281-2706-874C25BB4F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10127" y="3984460"/>
            <a:ext cx="2394066" cy="23940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D2B179-EA59-1088-B08A-2203F8461CB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95054" y="3984460"/>
            <a:ext cx="2394066" cy="239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649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26352F-DD87-268D-7C46-5DE4D9F8B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store index</a:t>
            </a:r>
            <a:endParaRPr lang="nl-BE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3B5437-70E3-E6DA-C591-5D15682D815D}"/>
              </a:ext>
            </a:extLst>
          </p:cNvPr>
          <p:cNvGrpSpPr/>
          <p:nvPr/>
        </p:nvGrpSpPr>
        <p:grpSpPr>
          <a:xfrm>
            <a:off x="2113829" y="3221610"/>
            <a:ext cx="2160240" cy="2016224"/>
            <a:chOff x="539552" y="3429000"/>
            <a:chExt cx="2160240" cy="2016224"/>
          </a:xfrm>
        </p:grpSpPr>
        <p:sp>
          <p:nvSpPr>
            <p:cNvPr id="7" name="Rounded Rectangle 4">
              <a:extLst>
                <a:ext uri="{FF2B5EF4-FFF2-40B4-BE49-F238E27FC236}">
                  <a16:creationId xmlns:a16="http://schemas.microsoft.com/office/drawing/2014/main" id="{2E6DA780-CB74-F584-70A3-EB951A77A9A2}"/>
                </a:ext>
              </a:extLst>
            </p:cNvPr>
            <p:cNvSpPr/>
            <p:nvPr/>
          </p:nvSpPr>
          <p:spPr>
            <a:xfrm>
              <a:off x="539552" y="3429000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EAE200B-4CB6-D095-18D4-FD05B0569515}"/>
                </a:ext>
              </a:extLst>
            </p:cNvPr>
            <p:cNvGrpSpPr/>
            <p:nvPr/>
          </p:nvGrpSpPr>
          <p:grpSpPr>
            <a:xfrm>
              <a:off x="899592" y="4087958"/>
              <a:ext cx="1440160" cy="369332"/>
              <a:chOff x="3995936" y="2708920"/>
              <a:chExt cx="1440160" cy="369332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3411014-061A-8655-FD3F-A077615BB0B1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0190E9F-91C6-D1F5-ABD2-0E0251179B61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59A908-55F1-998C-DFD9-6B11A830E057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5212752-1560-1B5F-DDA7-ECD6A9C238F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0C93DBD-235D-AA12-D3B9-4999143FCD61}"/>
                </a:ext>
              </a:extLst>
            </p:cNvPr>
            <p:cNvGrpSpPr/>
            <p:nvPr/>
          </p:nvGrpSpPr>
          <p:grpSpPr>
            <a:xfrm>
              <a:off x="899592" y="4528292"/>
              <a:ext cx="1440160" cy="369332"/>
              <a:chOff x="3995936" y="2708920"/>
              <a:chExt cx="1440160" cy="369332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01933B4-B2D4-A75D-6BAE-B7374F16A272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B528D56-8A67-0EB3-2A5E-4E9820E89328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D8DEFDD-A045-E1AB-7DC7-2F03F6BCCC29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A704A6D-9ABC-CF4D-0EC1-542C4C4BB6BA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76BDB92-408B-F277-4AD1-D5018ECC3535}"/>
                </a:ext>
              </a:extLst>
            </p:cNvPr>
            <p:cNvGrpSpPr/>
            <p:nvPr/>
          </p:nvGrpSpPr>
          <p:grpSpPr>
            <a:xfrm>
              <a:off x="899592" y="3645024"/>
              <a:ext cx="1440160" cy="369332"/>
              <a:chOff x="899592" y="3284984"/>
              <a:chExt cx="1440160" cy="36933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D7A3957-D5E6-63E0-3FBA-2B5D2D5CE277}"/>
                  </a:ext>
                </a:extLst>
              </p:cNvPr>
              <p:cNvSpPr txBox="1"/>
              <p:nvPr/>
            </p:nvSpPr>
            <p:spPr>
              <a:xfrm>
                <a:off x="899592" y="3284984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B7069D4-3A92-EF0A-2947-27DB39C00D8A}"/>
                  </a:ext>
                </a:extLst>
              </p:cNvPr>
              <p:cNvSpPr txBox="1"/>
              <p:nvPr/>
            </p:nvSpPr>
            <p:spPr>
              <a:xfrm>
                <a:off x="1259632" y="3284984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E56150-915B-4B0F-20FB-9D4AF96475AF}"/>
                  </a:ext>
                </a:extLst>
              </p:cNvPr>
              <p:cNvSpPr txBox="1"/>
              <p:nvPr/>
            </p:nvSpPr>
            <p:spPr>
              <a:xfrm>
                <a:off x="1619672" y="3284984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D0D12CF-3AFA-6ADB-597D-C649F4D44F13}"/>
                  </a:ext>
                </a:extLst>
              </p:cNvPr>
              <p:cNvSpPr txBox="1"/>
              <p:nvPr/>
            </p:nvSpPr>
            <p:spPr>
              <a:xfrm>
                <a:off x="1979712" y="3284984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C3201A-F3D0-EBE2-3EA8-12409D8EE600}"/>
              </a:ext>
            </a:extLst>
          </p:cNvPr>
          <p:cNvGrpSpPr/>
          <p:nvPr/>
        </p:nvGrpSpPr>
        <p:grpSpPr>
          <a:xfrm>
            <a:off x="4274069" y="5957914"/>
            <a:ext cx="3672408" cy="504056"/>
            <a:chOff x="2699792" y="4941168"/>
            <a:chExt cx="3672408" cy="504056"/>
          </a:xfrm>
        </p:grpSpPr>
        <p:sp>
          <p:nvSpPr>
            <p:cNvPr id="24" name="Can 3">
              <a:extLst>
                <a:ext uri="{FF2B5EF4-FFF2-40B4-BE49-F238E27FC236}">
                  <a16:creationId xmlns:a16="http://schemas.microsoft.com/office/drawing/2014/main" id="{1219D392-4FC6-6139-00E3-3087671F98E7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45B4745-7795-7691-4A89-CC22057430F0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9884D85-DDE1-2E22-FEC6-3D2D0112BE8E}"/>
              </a:ext>
            </a:extLst>
          </p:cNvPr>
          <p:cNvGrpSpPr/>
          <p:nvPr/>
        </p:nvGrpSpPr>
        <p:grpSpPr>
          <a:xfrm>
            <a:off x="5030153" y="3221610"/>
            <a:ext cx="2160240" cy="2016224"/>
            <a:chOff x="539552" y="2492896"/>
            <a:chExt cx="2160240" cy="2016224"/>
          </a:xfrm>
        </p:grpSpPr>
        <p:sp>
          <p:nvSpPr>
            <p:cNvPr id="27" name="Rounded Rectangle 28">
              <a:extLst>
                <a:ext uri="{FF2B5EF4-FFF2-40B4-BE49-F238E27FC236}">
                  <a16:creationId xmlns:a16="http://schemas.microsoft.com/office/drawing/2014/main" id="{7048C836-7E49-D0A2-CC34-2CE5C40AAB12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28" name="Group 12">
              <a:extLst>
                <a:ext uri="{FF2B5EF4-FFF2-40B4-BE49-F238E27FC236}">
                  <a16:creationId xmlns:a16="http://schemas.microsoft.com/office/drawing/2014/main" id="{143AAE14-8854-BDC0-C3CB-D3AEB6E43450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087B4BB-EE6B-70DB-8ED0-43524B7150D0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0645DA21-749C-C693-AD38-215F826C6F4B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B952BC37-DF72-5039-44C8-80973397B8F2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A384289-F09C-CC38-1F43-7EFA81B5C094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29" name="Group 15">
              <a:extLst>
                <a:ext uri="{FF2B5EF4-FFF2-40B4-BE49-F238E27FC236}">
                  <a16:creationId xmlns:a16="http://schemas.microsoft.com/office/drawing/2014/main" id="{DA2C688D-A66F-87E1-B09F-26677118F001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EFD553B-E758-C674-4358-92C4A611DF1B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3E29DE3-01EC-DDAD-A63B-3F5C67F0BF4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FFCC636-C5B5-3CD3-7581-DBF373C08F04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2945FCC-7B9D-E6F2-F040-83E1A3A7872E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30" name="Group 20">
              <a:extLst>
                <a:ext uri="{FF2B5EF4-FFF2-40B4-BE49-F238E27FC236}">
                  <a16:creationId xmlns:a16="http://schemas.microsoft.com/office/drawing/2014/main" id="{2B5717BF-5081-1126-B505-A9C16483257E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44B8CB67-69DD-347C-60C4-CE2ACA214D32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46E6DD4-BB44-3D75-50D8-4D233D4A7AA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57828F0-C740-9211-460F-05E75D2058C3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4A690C7-BCDD-506F-5F82-4415CCD4C416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4D3FAB-5E51-6E46-3CA4-E854373CCD50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DFF27DD-D240-C9E4-B8D4-4414BAA48D19}"/>
              </a:ext>
            </a:extLst>
          </p:cNvPr>
          <p:cNvGrpSpPr/>
          <p:nvPr/>
        </p:nvGrpSpPr>
        <p:grpSpPr>
          <a:xfrm>
            <a:off x="7946477" y="3221610"/>
            <a:ext cx="2160240" cy="2016224"/>
            <a:chOff x="539552" y="2492896"/>
            <a:chExt cx="2160240" cy="2016224"/>
          </a:xfrm>
        </p:grpSpPr>
        <p:sp>
          <p:nvSpPr>
            <p:cNvPr id="45" name="Rounded Rectangle 46">
              <a:extLst>
                <a:ext uri="{FF2B5EF4-FFF2-40B4-BE49-F238E27FC236}">
                  <a16:creationId xmlns:a16="http://schemas.microsoft.com/office/drawing/2014/main" id="{C8680BF5-1867-C08B-9F39-C12B396AB0D0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46" name="Group 12">
              <a:extLst>
                <a:ext uri="{FF2B5EF4-FFF2-40B4-BE49-F238E27FC236}">
                  <a16:creationId xmlns:a16="http://schemas.microsoft.com/office/drawing/2014/main" id="{832FD272-7321-0390-01B7-EBE6B29E5ECE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3E871AC4-E311-76CD-7EF4-69A039C4918A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7E350F4-EF69-B879-313B-FB58444AB8A6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0324375-354C-332B-285F-D7A1D94A0FA9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0A13E3D-F93A-9342-5608-EB10B31CA66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7" name="Group 15">
              <a:extLst>
                <a:ext uri="{FF2B5EF4-FFF2-40B4-BE49-F238E27FC236}">
                  <a16:creationId xmlns:a16="http://schemas.microsoft.com/office/drawing/2014/main" id="{B93540CE-C5E5-8D29-2121-EB51D30F3E7A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B8C846F-1EDE-040E-ADB8-7EB6E53DA646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ABFD6CF-42DE-8166-3228-90D79CD29DA4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8A13BF73-6917-DCF6-0C9D-EDD9823127BB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B14F011E-35AF-EB03-2AF2-7208BA8C7E19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8" name="Group 20">
              <a:extLst>
                <a:ext uri="{FF2B5EF4-FFF2-40B4-BE49-F238E27FC236}">
                  <a16:creationId xmlns:a16="http://schemas.microsoft.com/office/drawing/2014/main" id="{BF590464-AAE3-A138-AC1A-70CC6DC8CE22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FBCBF6BA-07C9-5FF9-ECC0-75E9AD7DCB9E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C49D064-476B-C2C2-41F8-D32E6D86A77B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AE9634A-2E1E-C3DB-5A67-C2C358C8B035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ECA00BF-3C9D-7142-EF8A-5B661C1B8A37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F24A85B-55B9-B021-AE6F-35B958377A08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AC14A6D-A845-8551-9AB0-E9A300A1BD70}"/>
              </a:ext>
            </a:extLst>
          </p:cNvPr>
          <p:cNvGrpSpPr/>
          <p:nvPr/>
        </p:nvGrpSpPr>
        <p:grpSpPr>
          <a:xfrm>
            <a:off x="5354189" y="3415862"/>
            <a:ext cx="1512168" cy="1274372"/>
            <a:chOff x="856048" y="3274098"/>
            <a:chExt cx="1512168" cy="1274372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9908045-D25F-F8B4-B7FD-83109E211A36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0548E806-70AE-AD9E-1F38-B483C9C2D31F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94B5757-455D-843B-1B72-7CBFD8612668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C3BDF45-DBCD-3951-9414-68C3B35BD8B3}"/>
              </a:ext>
            </a:extLst>
          </p:cNvPr>
          <p:cNvGrpSpPr/>
          <p:nvPr/>
        </p:nvGrpSpPr>
        <p:grpSpPr>
          <a:xfrm>
            <a:off x="8234509" y="3409170"/>
            <a:ext cx="1512168" cy="1274372"/>
            <a:chOff x="856048" y="3274098"/>
            <a:chExt cx="1512168" cy="1274372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180DF9A-EDE1-26DE-0DF7-89F085574FBB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B71A0D9-DEBB-2B2D-B895-36B59084FF91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D2C4849-9DBC-E266-F89B-F141E3EF24B4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0" name="Right Arrow 77">
            <a:extLst>
              <a:ext uri="{FF2B5EF4-FFF2-40B4-BE49-F238E27FC236}">
                <a16:creationId xmlns:a16="http://schemas.microsoft.com/office/drawing/2014/main" id="{41D30F85-AEFE-AFE4-2777-D0994C33299A}"/>
              </a:ext>
            </a:extLst>
          </p:cNvPr>
          <p:cNvSpPr/>
          <p:nvPr/>
        </p:nvSpPr>
        <p:spPr>
          <a:xfrm rot="14764633">
            <a:off x="3915414" y="5372191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1" name="Right Arrow 78">
            <a:extLst>
              <a:ext uri="{FF2B5EF4-FFF2-40B4-BE49-F238E27FC236}">
                <a16:creationId xmlns:a16="http://schemas.microsoft.com/office/drawing/2014/main" id="{CB5083E8-D7E1-6B7C-9A76-DDC87B2578AC}"/>
              </a:ext>
            </a:extLst>
          </p:cNvPr>
          <p:cNvSpPr/>
          <p:nvPr/>
        </p:nvSpPr>
        <p:spPr>
          <a:xfrm rot="16200000">
            <a:off x="5865566" y="5372190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2" name="Right Arrow 79">
            <a:extLst>
              <a:ext uri="{FF2B5EF4-FFF2-40B4-BE49-F238E27FC236}">
                <a16:creationId xmlns:a16="http://schemas.microsoft.com/office/drawing/2014/main" id="{C332E409-C727-A091-BC62-2F46EF259D1D}"/>
              </a:ext>
            </a:extLst>
          </p:cNvPr>
          <p:cNvSpPr/>
          <p:nvPr/>
        </p:nvSpPr>
        <p:spPr>
          <a:xfrm rot="17640000">
            <a:off x="7887587" y="5372191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BA0095C-7573-7CA8-2DB9-A7424B319AF2}"/>
              </a:ext>
            </a:extLst>
          </p:cNvPr>
          <p:cNvSpPr txBox="1"/>
          <p:nvPr/>
        </p:nvSpPr>
        <p:spPr>
          <a:xfrm>
            <a:off x="5912675" y="236840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125CA36-B9FA-3C60-C813-74FEE2530269}"/>
              </a:ext>
            </a:extLst>
          </p:cNvPr>
          <p:cNvSpPr txBox="1"/>
          <p:nvPr/>
        </p:nvSpPr>
        <p:spPr>
          <a:xfrm>
            <a:off x="2761901" y="4837724"/>
            <a:ext cx="792088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nl-BE" sz="2000" b="1">
                <a:solidFill>
                  <a:prstClr val="white"/>
                </a:solidFill>
                <a:latin typeface="Segoe UI Light"/>
              </a:rPr>
              <a:t>page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9348C03-8202-B1E5-68A5-54EA21F7E29A}"/>
              </a:ext>
            </a:extLst>
          </p:cNvPr>
          <p:cNvGrpSpPr/>
          <p:nvPr/>
        </p:nvGrpSpPr>
        <p:grpSpPr>
          <a:xfrm>
            <a:off x="2430325" y="3426748"/>
            <a:ext cx="1512168" cy="1274372"/>
            <a:chOff x="856048" y="3274098"/>
            <a:chExt cx="1512168" cy="1274372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0FD7E34-F5C5-FE4B-0499-C40B6BA742AA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73F7973-4DD3-A49D-B4E7-8B17629381B1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D9EFABB-E753-7507-EC63-243AAA6E968F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9EA0589D-E8F5-4177-3434-65CD8023CED1}"/>
              </a:ext>
            </a:extLst>
          </p:cNvPr>
          <p:cNvSpPr txBox="1"/>
          <p:nvPr/>
        </p:nvSpPr>
        <p:spPr>
          <a:xfrm>
            <a:off x="5912675" y="20083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4D108BA-E01B-C9B2-C0A0-2B0BBE0FB257}"/>
              </a:ext>
            </a:extLst>
          </p:cNvPr>
          <p:cNvSpPr txBox="1"/>
          <p:nvPr/>
        </p:nvSpPr>
        <p:spPr>
          <a:xfrm>
            <a:off x="4490093" y="271755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B911003-4755-3EFE-0557-49B43012A65B}"/>
              </a:ext>
            </a:extLst>
          </p:cNvPr>
          <p:cNvSpPr txBox="1"/>
          <p:nvPr/>
        </p:nvSpPr>
        <p:spPr>
          <a:xfrm>
            <a:off x="4490093" y="235751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E5331C6-F9BC-C2AD-539B-4D19D1EF2764}"/>
              </a:ext>
            </a:extLst>
          </p:cNvPr>
          <p:cNvSpPr txBox="1"/>
          <p:nvPr/>
        </p:nvSpPr>
        <p:spPr>
          <a:xfrm>
            <a:off x="4490093" y="1997474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1DB5B5D-8904-516F-D8AA-55D2761B1749}"/>
              </a:ext>
            </a:extLst>
          </p:cNvPr>
          <p:cNvSpPr txBox="1"/>
          <p:nvPr/>
        </p:nvSpPr>
        <p:spPr>
          <a:xfrm>
            <a:off x="5912675" y="2737732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5658BFB7-65AB-A95F-2D8F-AB42E741EEC8}"/>
              </a:ext>
            </a:extLst>
          </p:cNvPr>
          <p:cNvCxnSpPr>
            <a:stCxn id="11" idx="0"/>
            <a:endCxn id="82" idx="1"/>
          </p:cNvCxnSpPr>
          <p:nvPr/>
        </p:nvCxnSpPr>
        <p:spPr>
          <a:xfrm flipV="1">
            <a:off x="2653889" y="2182140"/>
            <a:ext cx="1836204" cy="125549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A77FEDE3-0384-0517-C7A0-65929D00EFBF}"/>
              </a:ext>
            </a:extLst>
          </p:cNvPr>
          <p:cNvCxnSpPr>
            <a:stCxn id="19" idx="0"/>
            <a:endCxn id="81" idx="1"/>
          </p:cNvCxnSpPr>
          <p:nvPr/>
        </p:nvCxnSpPr>
        <p:spPr>
          <a:xfrm flipV="1">
            <a:off x="2653889" y="2542180"/>
            <a:ext cx="1836204" cy="133838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D490417-0D5A-DB0F-D12E-06AAB712E288}"/>
              </a:ext>
            </a:extLst>
          </p:cNvPr>
          <p:cNvCxnSpPr>
            <a:stCxn id="15" idx="0"/>
            <a:endCxn id="80" idx="1"/>
          </p:cNvCxnSpPr>
          <p:nvPr/>
        </p:nvCxnSpPr>
        <p:spPr>
          <a:xfrm flipV="1">
            <a:off x="2653889" y="2902220"/>
            <a:ext cx="1836204" cy="141868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5E3A9C2E-5A3F-D22B-3824-82DBBD3694C4}"/>
              </a:ext>
            </a:extLst>
          </p:cNvPr>
          <p:cNvSpPr txBox="1"/>
          <p:nvPr/>
        </p:nvSpPr>
        <p:spPr>
          <a:xfrm>
            <a:off x="7370413" y="236840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445FCF4-9C34-05E9-6217-A6ABC0A07E16}"/>
              </a:ext>
            </a:extLst>
          </p:cNvPr>
          <p:cNvSpPr txBox="1"/>
          <p:nvPr/>
        </p:nvSpPr>
        <p:spPr>
          <a:xfrm>
            <a:off x="7370413" y="20083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901F301-3416-9D21-6FA2-5670045D650A}"/>
              </a:ext>
            </a:extLst>
          </p:cNvPr>
          <p:cNvSpPr txBox="1"/>
          <p:nvPr/>
        </p:nvSpPr>
        <p:spPr>
          <a:xfrm>
            <a:off x="7370413" y="2737732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BE48AE3-428E-95CD-724D-5762FE00F486}"/>
              </a:ext>
            </a:extLst>
          </p:cNvPr>
          <p:cNvCxnSpPr>
            <a:stCxn id="40" idx="0"/>
            <a:endCxn id="79" idx="1"/>
          </p:cNvCxnSpPr>
          <p:nvPr/>
        </p:nvCxnSpPr>
        <p:spPr>
          <a:xfrm flipV="1">
            <a:off x="5570213" y="2193026"/>
            <a:ext cx="342462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1F1AF127-3B7E-8B7F-53B6-81B63BC35663}"/>
              </a:ext>
            </a:extLst>
          </p:cNvPr>
          <p:cNvCxnSpPr>
            <a:stCxn id="36" idx="0"/>
            <a:endCxn id="73" idx="1"/>
          </p:cNvCxnSpPr>
          <p:nvPr/>
        </p:nvCxnSpPr>
        <p:spPr>
          <a:xfrm flipV="1">
            <a:off x="5570213" y="2553066"/>
            <a:ext cx="342462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CA8D9D9-CA7D-F5A1-792C-343038866781}"/>
              </a:ext>
            </a:extLst>
          </p:cNvPr>
          <p:cNvCxnSpPr>
            <a:stCxn id="32" idx="0"/>
            <a:endCxn id="83" idx="1"/>
          </p:cNvCxnSpPr>
          <p:nvPr/>
        </p:nvCxnSpPr>
        <p:spPr>
          <a:xfrm flipV="1">
            <a:off x="5570213" y="2922398"/>
            <a:ext cx="342462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726FA11D-E4C2-D1BD-B1F8-7FDD759858E8}"/>
              </a:ext>
            </a:extLst>
          </p:cNvPr>
          <p:cNvCxnSpPr>
            <a:stCxn id="58" idx="0"/>
            <a:endCxn id="88" idx="3"/>
          </p:cNvCxnSpPr>
          <p:nvPr/>
        </p:nvCxnSpPr>
        <p:spPr>
          <a:xfrm flipH="1" flipV="1">
            <a:off x="7730453" y="2193026"/>
            <a:ext cx="756084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D344C582-3F75-332E-1291-FE9912EE35CA}"/>
              </a:ext>
            </a:extLst>
          </p:cNvPr>
          <p:cNvCxnSpPr>
            <a:stCxn id="54" idx="0"/>
            <a:endCxn id="87" idx="3"/>
          </p:cNvCxnSpPr>
          <p:nvPr/>
        </p:nvCxnSpPr>
        <p:spPr>
          <a:xfrm flipH="1" flipV="1">
            <a:off x="7730453" y="2553066"/>
            <a:ext cx="756084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9DE1D705-A793-CEBD-38B8-E0B9CF6F2024}"/>
              </a:ext>
            </a:extLst>
          </p:cNvPr>
          <p:cNvCxnSpPr>
            <a:stCxn id="50" idx="0"/>
            <a:endCxn id="89" idx="3"/>
          </p:cNvCxnSpPr>
          <p:nvPr/>
        </p:nvCxnSpPr>
        <p:spPr>
          <a:xfrm flipH="1" flipV="1">
            <a:off x="7730453" y="2922398"/>
            <a:ext cx="756084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F8F21892-F3A4-AC9D-5EB1-7FF33EDA6AE7}"/>
              </a:ext>
            </a:extLst>
          </p:cNvPr>
          <p:cNvSpPr txBox="1"/>
          <p:nvPr/>
        </p:nvSpPr>
        <p:spPr>
          <a:xfrm>
            <a:off x="839370" y="1340257"/>
            <a:ext cx="19225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6475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  <p:bldP spid="72" grpId="0" animBg="1"/>
      <p:bldP spid="73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7" grpId="0" animBg="1"/>
      <p:bldP spid="88" grpId="0" animBg="1"/>
      <p:bldP spid="89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71E19A-B493-7FAE-422E-E5B0A7F9A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less I/O</a:t>
            </a:r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5FC287-5F6F-462D-4337-6DBD75DA09AE}"/>
              </a:ext>
            </a:extLst>
          </p:cNvPr>
          <p:cNvGrpSpPr/>
          <p:nvPr/>
        </p:nvGrpSpPr>
        <p:grpSpPr>
          <a:xfrm>
            <a:off x="4170373" y="5805488"/>
            <a:ext cx="3672408" cy="504056"/>
            <a:chOff x="2699792" y="4941168"/>
            <a:chExt cx="3672408" cy="504056"/>
          </a:xfrm>
        </p:grpSpPr>
        <p:sp>
          <p:nvSpPr>
            <p:cNvPr id="5" name="Can 4">
              <a:extLst>
                <a:ext uri="{FF2B5EF4-FFF2-40B4-BE49-F238E27FC236}">
                  <a16:creationId xmlns:a16="http://schemas.microsoft.com/office/drawing/2014/main" id="{DDF4D261-BB89-3025-5EC8-A1E9DFFD782F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B578EC-9FDA-DE57-583F-352F9DE979A9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5168F32-3359-C802-5C7F-1C3B98C6A2F0}"/>
              </a:ext>
            </a:extLst>
          </p:cNvPr>
          <p:cNvGrpSpPr/>
          <p:nvPr/>
        </p:nvGrpSpPr>
        <p:grpSpPr>
          <a:xfrm>
            <a:off x="3306277" y="2133080"/>
            <a:ext cx="360040" cy="3249652"/>
            <a:chOff x="1547664" y="2420888"/>
            <a:chExt cx="360040" cy="324965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B4AD74A-4938-6034-DEB6-14AC3F18ADB6}"/>
                </a:ext>
              </a:extLst>
            </p:cNvPr>
            <p:cNvSpPr txBox="1"/>
            <p:nvPr/>
          </p:nvSpPr>
          <p:spPr>
            <a:xfrm>
              <a:off x="1547664" y="53012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571F05-BCDF-DFB2-9D47-0243D112C26A}"/>
                </a:ext>
              </a:extLst>
            </p:cNvPr>
            <p:cNvSpPr txBox="1"/>
            <p:nvPr/>
          </p:nvSpPr>
          <p:spPr>
            <a:xfrm>
              <a:off x="1547664" y="49411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9C24F37-11B8-9FDB-4DD4-C440E0568E8C}"/>
                </a:ext>
              </a:extLst>
            </p:cNvPr>
            <p:cNvSpPr txBox="1"/>
            <p:nvPr/>
          </p:nvSpPr>
          <p:spPr>
            <a:xfrm>
              <a:off x="1547664" y="45811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C9934A1-B853-4C78-3F60-2D91FE527C43}"/>
                </a:ext>
              </a:extLst>
            </p:cNvPr>
            <p:cNvSpPr txBox="1"/>
            <p:nvPr/>
          </p:nvSpPr>
          <p:spPr>
            <a:xfrm>
              <a:off x="1547664" y="31409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736B3D-606C-65CC-394F-EE42D0A54403}"/>
                </a:ext>
              </a:extLst>
            </p:cNvPr>
            <p:cNvSpPr txBox="1"/>
            <p:nvPr/>
          </p:nvSpPr>
          <p:spPr>
            <a:xfrm>
              <a:off x="1547664" y="27809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0A9769-BCC3-3379-20A2-17AEAF7F268B}"/>
                </a:ext>
              </a:extLst>
            </p:cNvPr>
            <p:cNvSpPr txBox="1"/>
            <p:nvPr/>
          </p:nvSpPr>
          <p:spPr>
            <a:xfrm>
              <a:off x="1547664" y="24208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B1A59E-3A2D-93DB-2DEA-597C91F5A731}"/>
                </a:ext>
              </a:extLst>
            </p:cNvPr>
            <p:cNvSpPr txBox="1"/>
            <p:nvPr/>
          </p:nvSpPr>
          <p:spPr>
            <a:xfrm>
              <a:off x="1547664" y="42210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6D9ABA-59DF-8BD8-A4D2-7CC4BA459757}"/>
                </a:ext>
              </a:extLst>
            </p:cNvPr>
            <p:cNvSpPr txBox="1"/>
            <p:nvPr/>
          </p:nvSpPr>
          <p:spPr>
            <a:xfrm>
              <a:off x="1547664" y="386104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6DB5499-3C2C-74C0-E69E-8E02A499BC3C}"/>
                </a:ext>
              </a:extLst>
            </p:cNvPr>
            <p:cNvSpPr txBox="1"/>
            <p:nvPr/>
          </p:nvSpPr>
          <p:spPr>
            <a:xfrm>
              <a:off x="1547664" y="35010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DCA4D80-0CC3-A4B7-AD39-E1ECA79C9F64}"/>
              </a:ext>
            </a:extLst>
          </p:cNvPr>
          <p:cNvGrpSpPr/>
          <p:nvPr/>
        </p:nvGrpSpPr>
        <p:grpSpPr>
          <a:xfrm>
            <a:off x="4962461" y="2133080"/>
            <a:ext cx="360040" cy="3249652"/>
            <a:chOff x="3059832" y="2420888"/>
            <a:chExt cx="360040" cy="324965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FEE48B6-15E3-2D30-021C-5E7D33115A55}"/>
                </a:ext>
              </a:extLst>
            </p:cNvPr>
            <p:cNvSpPr txBox="1"/>
            <p:nvPr/>
          </p:nvSpPr>
          <p:spPr>
            <a:xfrm>
              <a:off x="3059832" y="53012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FB7BE7E-157A-5E3D-4339-044EBCD380D3}"/>
                </a:ext>
              </a:extLst>
            </p:cNvPr>
            <p:cNvSpPr txBox="1"/>
            <p:nvPr/>
          </p:nvSpPr>
          <p:spPr>
            <a:xfrm>
              <a:off x="3059832" y="45811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F37FBDA-3096-3E17-69A2-4C8A9964409E}"/>
                </a:ext>
              </a:extLst>
            </p:cNvPr>
            <p:cNvSpPr txBox="1"/>
            <p:nvPr/>
          </p:nvSpPr>
          <p:spPr>
            <a:xfrm>
              <a:off x="3059832" y="49411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4ED40FD-7451-783F-064F-D8C8D65C03FB}"/>
                </a:ext>
              </a:extLst>
            </p:cNvPr>
            <p:cNvSpPr txBox="1"/>
            <p:nvPr/>
          </p:nvSpPr>
          <p:spPr>
            <a:xfrm>
              <a:off x="3059832" y="42210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9BD1792-81C2-CFA5-3F20-5D2282F32A81}"/>
                </a:ext>
              </a:extLst>
            </p:cNvPr>
            <p:cNvSpPr txBox="1"/>
            <p:nvPr/>
          </p:nvSpPr>
          <p:spPr>
            <a:xfrm>
              <a:off x="3059832" y="35010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667FDF2-5962-C346-69ED-2F7F9557EEAC}"/>
                </a:ext>
              </a:extLst>
            </p:cNvPr>
            <p:cNvSpPr txBox="1"/>
            <p:nvPr/>
          </p:nvSpPr>
          <p:spPr>
            <a:xfrm>
              <a:off x="3059832" y="386104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B6C9C37-E0F9-9986-FC0E-4B1FB41AFF19}"/>
                </a:ext>
              </a:extLst>
            </p:cNvPr>
            <p:cNvSpPr txBox="1"/>
            <p:nvPr/>
          </p:nvSpPr>
          <p:spPr>
            <a:xfrm>
              <a:off x="3059832" y="31409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A006633-2474-2416-5AAB-1367C027363A}"/>
                </a:ext>
              </a:extLst>
            </p:cNvPr>
            <p:cNvSpPr txBox="1"/>
            <p:nvPr/>
          </p:nvSpPr>
          <p:spPr>
            <a:xfrm>
              <a:off x="3059832" y="24208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A1F8D1E-12C3-C39A-4675-2FF0EAC114F5}"/>
                </a:ext>
              </a:extLst>
            </p:cNvPr>
            <p:cNvSpPr txBox="1"/>
            <p:nvPr/>
          </p:nvSpPr>
          <p:spPr>
            <a:xfrm>
              <a:off x="3059832" y="27809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DB97430-E718-F166-6FF5-0034182B3E53}"/>
              </a:ext>
            </a:extLst>
          </p:cNvPr>
          <p:cNvGrpSpPr/>
          <p:nvPr/>
        </p:nvGrpSpPr>
        <p:grpSpPr>
          <a:xfrm>
            <a:off x="6618645" y="2133080"/>
            <a:ext cx="360040" cy="3249652"/>
            <a:chOff x="4932040" y="2492896"/>
            <a:chExt cx="360040" cy="324965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DEF965F-EC78-1F7E-4EB9-ED75E06C486A}"/>
                </a:ext>
              </a:extLst>
            </p:cNvPr>
            <p:cNvSpPr txBox="1"/>
            <p:nvPr/>
          </p:nvSpPr>
          <p:spPr>
            <a:xfrm>
              <a:off x="4932040" y="53732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1B35F2F-C989-CEE9-66AC-32E5B4332C09}"/>
                </a:ext>
              </a:extLst>
            </p:cNvPr>
            <p:cNvSpPr txBox="1"/>
            <p:nvPr/>
          </p:nvSpPr>
          <p:spPr>
            <a:xfrm>
              <a:off x="4932040" y="50131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40EB3E1-A5EB-AE03-A27E-0EAECD6A09FE}"/>
                </a:ext>
              </a:extLst>
            </p:cNvPr>
            <p:cNvSpPr txBox="1"/>
            <p:nvPr/>
          </p:nvSpPr>
          <p:spPr>
            <a:xfrm>
              <a:off x="4932040" y="46531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019063A-328E-A2FF-2C1F-1E238D0657D1}"/>
                </a:ext>
              </a:extLst>
            </p:cNvPr>
            <p:cNvSpPr txBox="1"/>
            <p:nvPr/>
          </p:nvSpPr>
          <p:spPr>
            <a:xfrm>
              <a:off x="4932040" y="42930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AA116EA-5BAE-A6A0-0325-94281BEA2169}"/>
                </a:ext>
              </a:extLst>
            </p:cNvPr>
            <p:cNvSpPr txBox="1"/>
            <p:nvPr/>
          </p:nvSpPr>
          <p:spPr>
            <a:xfrm>
              <a:off x="4932040" y="393305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46DDE9D-638D-9BB7-0939-4630FA1D3E68}"/>
                </a:ext>
              </a:extLst>
            </p:cNvPr>
            <p:cNvSpPr txBox="1"/>
            <p:nvPr/>
          </p:nvSpPr>
          <p:spPr>
            <a:xfrm>
              <a:off x="4932040" y="35730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CCB95A3-6EF2-F32F-9DA1-4307F523CFAF}"/>
                </a:ext>
              </a:extLst>
            </p:cNvPr>
            <p:cNvSpPr txBox="1"/>
            <p:nvPr/>
          </p:nvSpPr>
          <p:spPr>
            <a:xfrm>
              <a:off x="4932040" y="32129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6C1D98F-F28B-2137-F0DC-BACFD04915CC}"/>
                </a:ext>
              </a:extLst>
            </p:cNvPr>
            <p:cNvSpPr txBox="1"/>
            <p:nvPr/>
          </p:nvSpPr>
          <p:spPr>
            <a:xfrm>
              <a:off x="4932040" y="28529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829EB84-7C8F-5002-5B94-A1999AA56BEE}"/>
                </a:ext>
              </a:extLst>
            </p:cNvPr>
            <p:cNvSpPr txBox="1"/>
            <p:nvPr/>
          </p:nvSpPr>
          <p:spPr>
            <a:xfrm>
              <a:off x="4932040" y="24928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8EB2841-8CC8-3FA0-5A19-A8CFBD6238C8}"/>
              </a:ext>
            </a:extLst>
          </p:cNvPr>
          <p:cNvGrpSpPr/>
          <p:nvPr/>
        </p:nvGrpSpPr>
        <p:grpSpPr>
          <a:xfrm>
            <a:off x="8274829" y="2133080"/>
            <a:ext cx="360040" cy="3249652"/>
            <a:chOff x="6516216" y="2492896"/>
            <a:chExt cx="360040" cy="324965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8C5C0B2-58D8-9638-80AD-7C5FD3BF3226}"/>
                </a:ext>
              </a:extLst>
            </p:cNvPr>
            <p:cNvSpPr txBox="1"/>
            <p:nvPr/>
          </p:nvSpPr>
          <p:spPr>
            <a:xfrm>
              <a:off x="6516216" y="53732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221FADC-904D-87F9-FDE1-140E4315C1C6}"/>
                </a:ext>
              </a:extLst>
            </p:cNvPr>
            <p:cNvSpPr txBox="1"/>
            <p:nvPr/>
          </p:nvSpPr>
          <p:spPr>
            <a:xfrm>
              <a:off x="6516216" y="50131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6C79F57-8FA6-6D4F-041A-8B5FA0F1D414}"/>
                </a:ext>
              </a:extLst>
            </p:cNvPr>
            <p:cNvSpPr txBox="1"/>
            <p:nvPr/>
          </p:nvSpPr>
          <p:spPr>
            <a:xfrm>
              <a:off x="6516216" y="46531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36D6D76-294E-46D1-8492-B126633AD952}"/>
                </a:ext>
              </a:extLst>
            </p:cNvPr>
            <p:cNvSpPr txBox="1"/>
            <p:nvPr/>
          </p:nvSpPr>
          <p:spPr>
            <a:xfrm>
              <a:off x="6516216" y="42930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9C50E83-4206-4806-00E9-4A61029279FD}"/>
                </a:ext>
              </a:extLst>
            </p:cNvPr>
            <p:cNvSpPr txBox="1"/>
            <p:nvPr/>
          </p:nvSpPr>
          <p:spPr>
            <a:xfrm>
              <a:off x="6516216" y="393305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4B6689E-533B-3787-D7CC-167C64D6A254}"/>
                </a:ext>
              </a:extLst>
            </p:cNvPr>
            <p:cNvSpPr txBox="1"/>
            <p:nvPr/>
          </p:nvSpPr>
          <p:spPr>
            <a:xfrm>
              <a:off x="6516216" y="35730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D103B4E-4292-FD3E-ADA1-9091315C219D}"/>
                </a:ext>
              </a:extLst>
            </p:cNvPr>
            <p:cNvSpPr txBox="1"/>
            <p:nvPr/>
          </p:nvSpPr>
          <p:spPr>
            <a:xfrm>
              <a:off x="6516216" y="32129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B03BF97-FB2F-E280-AB85-137A93B844E1}"/>
                </a:ext>
              </a:extLst>
            </p:cNvPr>
            <p:cNvSpPr txBox="1"/>
            <p:nvPr/>
          </p:nvSpPr>
          <p:spPr>
            <a:xfrm>
              <a:off x="6516216" y="28529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9BA7AB2-9462-3379-5A9F-5B59A87F09F2}"/>
                </a:ext>
              </a:extLst>
            </p:cNvPr>
            <p:cNvSpPr txBox="1"/>
            <p:nvPr/>
          </p:nvSpPr>
          <p:spPr>
            <a:xfrm>
              <a:off x="6516216" y="24928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5F6448-B800-0F44-704C-9B66AAFA626E}"/>
              </a:ext>
            </a:extLst>
          </p:cNvPr>
          <p:cNvSpPr/>
          <p:nvPr/>
        </p:nvSpPr>
        <p:spPr>
          <a:xfrm flipV="1">
            <a:off x="3162261" y="2061072"/>
            <a:ext cx="648072" cy="3456384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8" name="Right Arrow 54">
            <a:extLst>
              <a:ext uri="{FF2B5EF4-FFF2-40B4-BE49-F238E27FC236}">
                <a16:creationId xmlns:a16="http://schemas.microsoft.com/office/drawing/2014/main" id="{21785F04-5BB9-28A9-B39C-D831F29F121B}"/>
              </a:ext>
            </a:extLst>
          </p:cNvPr>
          <p:cNvSpPr/>
          <p:nvPr/>
        </p:nvSpPr>
        <p:spPr>
          <a:xfrm rot="14764633">
            <a:off x="3595695" y="5579804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B062AD-1BAB-D976-63A9-CE7DBEC66638}"/>
              </a:ext>
            </a:extLst>
          </p:cNvPr>
          <p:cNvSpPr txBox="1"/>
          <p:nvPr/>
        </p:nvSpPr>
        <p:spPr>
          <a:xfrm>
            <a:off x="839370" y="1340257"/>
            <a:ext cx="19225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6565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4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428D0-C824-9623-CB66-4DAECAF13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syntax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FF1D4B-392D-3DEB-A225-52CEBB0C5858}"/>
              </a:ext>
            </a:extLst>
          </p:cNvPr>
          <p:cNvSpPr txBox="1"/>
          <p:nvPr/>
        </p:nvSpPr>
        <p:spPr>
          <a:xfrm>
            <a:off x="838200" y="1496385"/>
            <a:ext cx="847441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CI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umn1, ...]</a:t>
            </a: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|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_ARCHIV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9B019C-B521-7104-108C-6C1BAFE0FC68}"/>
              </a:ext>
            </a:extLst>
          </p:cNvPr>
          <p:cNvSpPr txBox="1"/>
          <p:nvPr/>
        </p:nvSpPr>
        <p:spPr>
          <a:xfrm>
            <a:off x="838200" y="3302487"/>
            <a:ext cx="847441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NON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CI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column1, ...]</a:t>
            </a:r>
          </a:p>
          <a:p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dirty="0">
                <a:solidFill>
                  <a:srgbClr val="0000FF"/>
                </a:solidFill>
                <a:latin typeface="Consolas" panose="020B0609020204030204" pitchFamily="49" charset="0"/>
              </a:rPr>
              <a:t>WHERE </a:t>
            </a:r>
            <a:r>
              <a:rPr lang="nl-BE" b="0" i="1" dirty="0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nl-BE" b="0" i="1" dirty="0" err="1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filter_expression</a:t>
            </a:r>
            <a:r>
              <a:rPr lang="nl-BE" b="0" i="1" dirty="0">
                <a:solidFill>
                  <a:srgbClr val="006881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nl-BE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[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ATA_COMPRESS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|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OLUMNSTORE_ARCHIV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kumimoji="0" lang="nl-B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536D13-97A3-3264-4192-08D32622E9DB}"/>
              </a:ext>
            </a:extLst>
          </p:cNvPr>
          <p:cNvSpPr txBox="1"/>
          <p:nvPr/>
        </p:nvSpPr>
        <p:spPr>
          <a:xfrm>
            <a:off x="838199" y="5426613"/>
            <a:ext cx="93494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Bef>
                <a:spcPts val="500"/>
              </a:spcBef>
              <a:buClr>
                <a:schemeClr val="accent2"/>
              </a:buClr>
            </a:pPr>
            <a:r>
              <a:rPr lang="en-US" sz="2000" dirty="0"/>
              <a:t>Be sure to check </a:t>
            </a:r>
            <a:r>
              <a:rPr lang="en-US" sz="2000" dirty="0">
                <a:hlinkClick r:id="rId2"/>
              </a:rPr>
              <a:t>MS Learn</a:t>
            </a:r>
            <a:r>
              <a:rPr lang="en-US" sz="2000" dirty="0"/>
              <a:t> (also </a:t>
            </a:r>
            <a:r>
              <a:rPr lang="en-US" sz="2000" dirty="0">
                <a:hlinkClick r:id="rId3"/>
              </a:rPr>
              <a:t>here</a:t>
            </a:r>
            <a:r>
              <a:rPr lang="en-US" sz="2000" dirty="0"/>
              <a:t>) to verify limitations between different versions and products 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53276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A55CF-4928-E489-2E66-669C55340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internals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FB32B6-5CFE-3707-1FC6-57D2D9003A08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9B3285-B976-3139-AB78-3C39676B7CE6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E7C092-F7B5-A749-E587-122CA8FF0E5A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046023-0870-57A7-8FC8-91DB0A14E292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6839FA-57B2-5E38-7C28-B919A51E2E7E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296171-EF0E-FD4F-16C9-23F388D5B0F1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923821-AA66-919E-E1BD-58DA0EF7CC19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3EDAB8-E394-B529-5718-F24789517F9A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C8F456-0DAF-641A-53AE-F9E088BC0BC8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B811BD-EE8A-2DFE-D45C-548A6E4BE339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C125C5-850D-81BD-E4F8-B95A8383D0BC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BF645CF-5E3A-C3E3-1B36-80D5A2D31539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CF7FDD-A670-DF11-8BE8-279DD81426A4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BB741A-DF48-595B-0EA7-90B3D7F7B93D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888D29-21EB-8273-A59E-6A69FC45C7D8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DB121E-2C02-9895-1B54-3030A0A1B107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92D71D-3C94-8FD7-2CDC-32583EFD65D8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F5520D-1B7F-561D-4EE4-D3EE2B27C728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A8F15C1-978D-AFD3-318D-0D7CA96A459A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6E962F-CA22-A387-121C-CA578785F0B8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887A77-5D5E-0220-4FB8-42CBFD5A7628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8AB404-3ABC-E10D-A1B3-81BD215E5E6C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B04117-73C1-40B4-98A4-EF2D16338F1F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BB7EE9-337E-A3E2-CDF4-F306D2136EF7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AA3051-0966-10CF-5B59-C3B3A5924F80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932CAD-5A7D-A295-8E1C-1C41F6DA9D92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81C0E3D-E753-69F6-66B7-5BD29EDC1432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3F1AE6-05D1-9726-A762-6794A20CABB2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B9F0FF-2B80-F4AD-3CE4-6A8780561B22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C6D655-795F-BFBA-86CA-DC83D1884B8C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8B0D62-28E1-1D33-9A68-A9D21C19479E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E6E2BBF-0D17-FD21-BB03-ACFF3E152E9B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243EE1-F121-C14D-697C-03D2881196FF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5A06842-9CF3-ECA0-47DF-FE412E8B9F9F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0AB7F7E-0E68-8900-5167-27F43C2C2CBA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A5AF909-8B54-D0B9-17BA-4B8A86084545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F2045AB-41DC-D9AD-05FB-E25F1445F4D2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Right Brace 40">
            <a:extLst>
              <a:ext uri="{FF2B5EF4-FFF2-40B4-BE49-F238E27FC236}">
                <a16:creationId xmlns:a16="http://schemas.microsoft.com/office/drawing/2014/main" id="{C4E26521-F94A-42EC-B825-27E99605D2E7}"/>
              </a:ext>
            </a:extLst>
          </p:cNvPr>
          <p:cNvSpPr/>
          <p:nvPr/>
        </p:nvSpPr>
        <p:spPr>
          <a:xfrm>
            <a:off x="3685880" y="1765435"/>
            <a:ext cx="207390" cy="2278664"/>
          </a:xfrm>
          <a:prstGeom prst="rightBrace">
            <a:avLst/>
          </a:prstGeom>
          <a:ln w="28575">
            <a:solidFill>
              <a:srgbClr val="FF89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A4CBE7-69E9-7306-19C2-C1849CEA0EF9}"/>
              </a:ext>
            </a:extLst>
          </p:cNvPr>
          <p:cNvSpPr txBox="1"/>
          <p:nvPr/>
        </p:nvSpPr>
        <p:spPr>
          <a:xfrm>
            <a:off x="3841423" y="2584371"/>
            <a:ext cx="19562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F890E"/>
                </a:solidFill>
              </a:rPr>
              <a:t>rowgroup</a:t>
            </a:r>
            <a:endParaRPr lang="en-US" sz="2400" dirty="0" err="1">
              <a:solidFill>
                <a:srgbClr val="FF890E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B4A794-4667-2A6E-E104-DB9C6E0E7827}"/>
              </a:ext>
            </a:extLst>
          </p:cNvPr>
          <p:cNvSpPr txBox="1"/>
          <p:nvPr/>
        </p:nvSpPr>
        <p:spPr>
          <a:xfrm>
            <a:off x="6699315" y="2756617"/>
            <a:ext cx="465448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maximum of 1,048,576 </a:t>
            </a:r>
            <a:r>
              <a:rPr lang="nl-BE" sz="2400" dirty="0" err="1"/>
              <a:t>rows</a:t>
            </a:r>
            <a:endParaRPr lang="en-US" sz="2400" dirty="0" err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23FC607-49E4-CA93-0405-80A00996C3BB}"/>
              </a:ext>
            </a:extLst>
          </p:cNvPr>
          <p:cNvSpPr txBox="1"/>
          <p:nvPr/>
        </p:nvSpPr>
        <p:spPr>
          <a:xfrm>
            <a:off x="6699315" y="1703664"/>
            <a:ext cx="4367753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/>
              <a:t>group</a:t>
            </a:r>
            <a:r>
              <a:rPr lang="nl-BE" sz="2400" dirty="0"/>
              <a:t> of </a:t>
            </a:r>
            <a:r>
              <a:rPr lang="nl-BE" sz="2400" dirty="0" err="1"/>
              <a:t>rows</a:t>
            </a:r>
            <a:r>
              <a:rPr lang="nl-BE" sz="2400" dirty="0"/>
              <a:t> </a:t>
            </a:r>
            <a:r>
              <a:rPr lang="nl-BE" sz="2400" dirty="0" err="1"/>
              <a:t>compressed</a:t>
            </a:r>
            <a:r>
              <a:rPr lang="nl-BE" sz="2400" dirty="0"/>
              <a:t> at </a:t>
            </a:r>
            <a:r>
              <a:rPr lang="nl-BE" sz="2400" dirty="0" err="1"/>
              <a:t>the</a:t>
            </a:r>
            <a:r>
              <a:rPr lang="nl-BE" sz="2400" dirty="0"/>
              <a:t> </a:t>
            </a:r>
            <a:r>
              <a:rPr lang="nl-BE" sz="2400" dirty="0" err="1"/>
              <a:t>same</a:t>
            </a:r>
            <a:r>
              <a:rPr lang="nl-BE" sz="2400" dirty="0"/>
              <a:t> time</a:t>
            </a:r>
            <a:endParaRPr lang="en-US" sz="2400" dirty="0" err="1"/>
          </a:p>
        </p:txBody>
      </p:sp>
      <p:sp>
        <p:nvSpPr>
          <p:cNvPr id="45" name="Right Brace 44">
            <a:extLst>
              <a:ext uri="{FF2B5EF4-FFF2-40B4-BE49-F238E27FC236}">
                <a16:creationId xmlns:a16="http://schemas.microsoft.com/office/drawing/2014/main" id="{6BF0061D-3EBA-A3B3-4B68-0F11474B195C}"/>
              </a:ext>
            </a:extLst>
          </p:cNvPr>
          <p:cNvSpPr/>
          <p:nvPr/>
        </p:nvSpPr>
        <p:spPr>
          <a:xfrm>
            <a:off x="3685880" y="5377271"/>
            <a:ext cx="207390" cy="1101757"/>
          </a:xfrm>
          <a:prstGeom prst="rightBrace">
            <a:avLst/>
          </a:prstGeom>
          <a:ln w="28575">
            <a:solidFill>
              <a:srgbClr val="F4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1F0AD72-784D-C919-B0CF-099C5D7876D3}"/>
              </a:ext>
            </a:extLst>
          </p:cNvPr>
          <p:cNvSpPr txBox="1"/>
          <p:nvPr/>
        </p:nvSpPr>
        <p:spPr>
          <a:xfrm>
            <a:off x="3841422" y="5475082"/>
            <a:ext cx="2753931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F890E"/>
                </a:solidFill>
              </a:rPr>
              <a:t>column segment</a:t>
            </a:r>
            <a:endParaRPr lang="en-US" sz="2400" dirty="0" err="1">
              <a:solidFill>
                <a:srgbClr val="FF890E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856AF8-15DF-1DB9-8D6A-FC119E611837}"/>
              </a:ext>
            </a:extLst>
          </p:cNvPr>
          <p:cNvSpPr txBox="1"/>
          <p:nvPr/>
        </p:nvSpPr>
        <p:spPr>
          <a:xfrm>
            <a:off x="6699315" y="4585902"/>
            <a:ext cx="5285162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column of data </a:t>
            </a:r>
            <a:r>
              <a:rPr lang="nl-BE" sz="2400" dirty="0" err="1"/>
              <a:t>within</a:t>
            </a:r>
            <a:r>
              <a:rPr lang="nl-BE" sz="2400" dirty="0"/>
              <a:t> </a:t>
            </a:r>
            <a:r>
              <a:rPr lang="nl-BE" sz="2400" dirty="0" err="1"/>
              <a:t>rowgroup</a:t>
            </a:r>
            <a:endParaRPr lang="en-US" sz="2400" dirty="0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1C10C8-4E71-BE45-E21E-CF26A932D062}"/>
              </a:ext>
            </a:extLst>
          </p:cNvPr>
          <p:cNvSpPr txBox="1"/>
          <p:nvPr/>
        </p:nvSpPr>
        <p:spPr>
          <a:xfrm>
            <a:off x="6699315" y="5170781"/>
            <a:ext cx="4735398" cy="627864"/>
          </a:xfrm>
          <a:prstGeom prst="rect">
            <a:avLst/>
          </a:prstGeom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/>
              <a:t>min/max </a:t>
            </a:r>
            <a:r>
              <a:rPr lang="nl-BE" sz="2400" dirty="0" err="1"/>
              <a:t>values</a:t>
            </a:r>
            <a:r>
              <a:rPr lang="nl-BE" sz="2400" dirty="0"/>
              <a:t> are </a:t>
            </a:r>
            <a:r>
              <a:rPr lang="nl-BE" sz="2400" dirty="0" err="1"/>
              <a:t>kept</a:t>
            </a:r>
            <a:endParaRPr lang="en-US" sz="2400" dirty="0" err="1"/>
          </a:p>
        </p:txBody>
      </p:sp>
    </p:spTree>
    <p:extLst>
      <p:ext uri="{BB962C8B-B14F-4D97-AF65-F5344CB8AC3E}">
        <p14:creationId xmlns:p14="http://schemas.microsoft.com/office/powerpoint/2010/main" val="405533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/>
      <p:bldP spid="43" grpId="0"/>
      <p:bldP spid="44" grpId="0"/>
      <p:bldP spid="45" grpId="0" animBg="1"/>
      <p:bldP spid="46" grpId="0"/>
      <p:bldP spid="47" grpId="0"/>
      <p:bldP spid="48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C70F7-988E-8969-8565-E33C3FCE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internals</a:t>
            </a:r>
            <a:endParaRPr lang="nl-BE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A8F5F1D-0FD3-0D99-8FF6-34689710936A}"/>
              </a:ext>
            </a:extLst>
          </p:cNvPr>
          <p:cNvSpPr txBox="1"/>
          <p:nvPr/>
        </p:nvSpPr>
        <p:spPr>
          <a:xfrm>
            <a:off x="3913969" y="2415373"/>
            <a:ext cx="2254577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47321"/>
                </a:solidFill>
              </a:rPr>
              <a:t>compressed</a:t>
            </a:r>
            <a:r>
              <a:rPr lang="nl-BE" sz="2400" dirty="0">
                <a:solidFill>
                  <a:srgbClr val="F47321"/>
                </a:solidFill>
              </a:rPr>
              <a:t> </a:t>
            </a:r>
            <a:r>
              <a:rPr lang="nl-BE" sz="2400" dirty="0" err="1">
                <a:solidFill>
                  <a:srgbClr val="F47321"/>
                </a:solidFill>
              </a:rPr>
              <a:t>rowgroup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6A67190-243D-982B-BE2F-215EB62802BD}"/>
              </a:ext>
            </a:extLst>
          </p:cNvPr>
          <p:cNvSpPr txBox="1"/>
          <p:nvPr/>
        </p:nvSpPr>
        <p:spPr>
          <a:xfrm>
            <a:off x="6422796" y="2613956"/>
            <a:ext cx="51797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+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A77EEECF-D22F-3142-CA3C-BAB5CAC024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380314"/>
              </p:ext>
            </p:extLst>
          </p:nvPr>
        </p:nvGraphicFramePr>
        <p:xfrm>
          <a:off x="7449270" y="2196368"/>
          <a:ext cx="3482680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70">
                  <a:extLst>
                    <a:ext uri="{9D8B030D-6E8A-4147-A177-3AD203B41FA5}">
                      <a16:colId xmlns:a16="http://schemas.microsoft.com/office/drawing/2014/main" val="2111352519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837916154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1628818540"/>
                    </a:ext>
                  </a:extLst>
                </a:gridCol>
                <a:gridCol w="870670">
                  <a:extLst>
                    <a:ext uri="{9D8B030D-6E8A-4147-A177-3AD203B41FA5}">
                      <a16:colId xmlns:a16="http://schemas.microsoft.com/office/drawing/2014/main" val="3916708635"/>
                    </a:ext>
                  </a:extLst>
                </a:gridCol>
              </a:tblGrid>
              <a:tr h="30700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754665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1627842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995666"/>
                  </a:ext>
                </a:extLst>
              </a:tr>
              <a:tr h="30700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046787"/>
                  </a:ext>
                </a:extLst>
              </a:tr>
            </a:tbl>
          </a:graphicData>
        </a:graphic>
      </p:graphicFrame>
      <p:sp>
        <p:nvSpPr>
          <p:cNvPr id="45" name="TextBox 44">
            <a:extLst>
              <a:ext uri="{FF2B5EF4-FFF2-40B4-BE49-F238E27FC236}">
                <a16:creationId xmlns:a16="http://schemas.microsoft.com/office/drawing/2014/main" id="{62051441-F4B3-1ACE-87CC-B2BBE6BB3C52}"/>
              </a:ext>
            </a:extLst>
          </p:cNvPr>
          <p:cNvSpPr txBox="1"/>
          <p:nvPr/>
        </p:nvSpPr>
        <p:spPr>
          <a:xfrm>
            <a:off x="8160731" y="3676114"/>
            <a:ext cx="2423248" cy="9602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deltastore (</a:t>
            </a:r>
            <a:r>
              <a:rPr lang="nl-BE" sz="2400" dirty="0" err="1">
                <a:solidFill>
                  <a:srgbClr val="F47321"/>
                </a:solidFill>
              </a:rPr>
              <a:t>row</a:t>
            </a:r>
            <a:r>
              <a:rPr lang="nl-BE" sz="2400" dirty="0">
                <a:solidFill>
                  <a:srgbClr val="F47321"/>
                </a:solidFill>
              </a:rPr>
              <a:t> storage)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897A3D9-7339-0D42-E045-CBA391D199E1}"/>
              </a:ext>
            </a:extLst>
          </p:cNvPr>
          <p:cNvSpPr/>
          <p:nvPr/>
        </p:nvSpPr>
        <p:spPr>
          <a:xfrm>
            <a:off x="609600" y="1765435"/>
            <a:ext cx="326796" cy="21883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 delete bitmap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00987F5-212D-6A71-1D06-6BD56A9F6215}"/>
              </a:ext>
            </a:extLst>
          </p:cNvPr>
          <p:cNvSpPr/>
          <p:nvPr/>
        </p:nvSpPr>
        <p:spPr>
          <a:xfrm>
            <a:off x="609600" y="4259579"/>
            <a:ext cx="326796" cy="21978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 delete bitmap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22C679E-1AEB-DF85-0232-E7B115F343A0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A63B8B2-51ED-F491-1493-C575AC6A70F6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51A094F-2925-BE9F-0BB2-63AA190DE22E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67BD764-0EEF-CBB7-BB8F-594656B2EEF0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3D3C569-14D7-BD67-4AF3-9070A2E4F0FF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8B37A62-17BB-A53A-EDA8-8938FEF9DDDE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1175F99-0A83-5DE4-A188-A96A87F78594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5D53191-703B-84F0-DF39-C264CBBF68E0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5AE0E0E-BF7E-F6D6-5303-28BFF38F51ED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5E8C9EE-2E26-16F3-0436-09ED8DBA088F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09A0FEC-987A-9A0B-DF84-567C85AADB03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4E4D744-8EC4-C8F0-D43F-DC0C1CF70178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4A71B79-23B8-4679-9047-F051CF86E2DE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E65F024-C783-A75A-8BA0-5B3188FA3B79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F1B47B0-BDD9-3AE6-11E2-69D057A19E91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1D095FC-E879-E7FE-C1C2-E0EE2CE6D50B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EED0B3B-82C0-D8A2-F392-2D9EB9C20458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EA618C2-349C-7B3C-9B63-0A910C2253EF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05FE839-1883-CBA7-AF8B-77C550CCF775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52B31C3-E393-DF04-CD53-D3A04F861800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37E636A-D197-4880-D658-CEE488AE38D5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8F47CAE-5881-B3EC-707D-C113603223A9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EEAA972-C628-2581-82ED-3671ED25C27D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6168E0A-1A6D-21F9-DB42-70BF618740DE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38E64FE-DFBE-5862-AAF5-D8A664908053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74E20A6-0488-0AB5-C5EF-7969D571A16D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5AF8068-BC18-F449-3C84-8ECF58CF1A75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8D6C572-0190-4426-13B7-34750D191AC4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65598D-C844-5B48-29D4-BCA0F0738390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C901FB9-7834-40A8-8583-C34E7FCFF3B5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E3D43AA-6817-E377-4592-EF0F01DDCC7F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407A98D-1C5A-3479-6C2F-C14BE8C0E1BB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FFEA20A-E78A-5D40-7A50-B645F02E38B1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C288C3F-ABE5-BA3B-050B-7E7F1B71ABB1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1CCDAA9-B53C-4A70-2A73-4E5B77F1222B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A91B1E5-F8CF-A8E2-54C3-4B6A1680C81C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77A49D5-41BD-3592-3688-FE430C9CA385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5" name="Right Brace 84">
            <a:extLst>
              <a:ext uri="{FF2B5EF4-FFF2-40B4-BE49-F238E27FC236}">
                <a16:creationId xmlns:a16="http://schemas.microsoft.com/office/drawing/2014/main" id="{6D8EF8B2-D4C7-36D3-F5D4-E1EAAF275BFD}"/>
              </a:ext>
            </a:extLst>
          </p:cNvPr>
          <p:cNvSpPr/>
          <p:nvPr/>
        </p:nvSpPr>
        <p:spPr>
          <a:xfrm>
            <a:off x="3685880" y="1765435"/>
            <a:ext cx="207390" cy="2278664"/>
          </a:xfrm>
          <a:prstGeom prst="rightBrace">
            <a:avLst/>
          </a:prstGeom>
          <a:ln w="28575">
            <a:solidFill>
              <a:srgbClr val="FF89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0153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5" grpId="0"/>
      <p:bldP spid="85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AD983-0023-DD4D-D21B-6A6A86793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segment elimination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71FC60-9AB7-3FC3-E006-594F03945D73}"/>
              </a:ext>
            </a:extLst>
          </p:cNvPr>
          <p:cNvSpPr txBox="1"/>
          <p:nvPr/>
        </p:nvSpPr>
        <p:spPr>
          <a:xfrm>
            <a:off x="1232380" y="608806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148C6F-314E-1EE0-75E8-DE9ABE603050}"/>
              </a:ext>
            </a:extLst>
          </p:cNvPr>
          <p:cNvSpPr txBox="1"/>
          <p:nvPr/>
        </p:nvSpPr>
        <p:spPr>
          <a:xfrm>
            <a:off x="1232380" y="572802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929F70-AF70-FD91-3AA2-331E05EC3A31}"/>
              </a:ext>
            </a:extLst>
          </p:cNvPr>
          <p:cNvSpPr txBox="1"/>
          <p:nvPr/>
        </p:nvSpPr>
        <p:spPr>
          <a:xfrm>
            <a:off x="1232380" y="536798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3A27D-F9C3-407C-B21D-2ADAA63A81A5}"/>
              </a:ext>
            </a:extLst>
          </p:cNvPr>
          <p:cNvSpPr txBox="1"/>
          <p:nvPr/>
        </p:nvSpPr>
        <p:spPr>
          <a:xfrm>
            <a:off x="1232380" y="248551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AADC2D-C3CD-ADC9-0E2A-06E069112624}"/>
              </a:ext>
            </a:extLst>
          </p:cNvPr>
          <p:cNvSpPr txBox="1"/>
          <p:nvPr/>
        </p:nvSpPr>
        <p:spPr>
          <a:xfrm>
            <a:off x="1232380" y="212547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4AC44-623A-CAD0-1A9D-AD54297D32F7}"/>
              </a:ext>
            </a:extLst>
          </p:cNvPr>
          <p:cNvSpPr txBox="1"/>
          <p:nvPr/>
        </p:nvSpPr>
        <p:spPr>
          <a:xfrm>
            <a:off x="1232380" y="176543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BF2E2D-5E3D-A49E-B32E-A82F815482BA}"/>
              </a:ext>
            </a:extLst>
          </p:cNvPr>
          <p:cNvSpPr txBox="1"/>
          <p:nvPr/>
        </p:nvSpPr>
        <p:spPr>
          <a:xfrm>
            <a:off x="1232380" y="5007940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704817-77CB-994F-D999-586B56FCE78B}"/>
              </a:ext>
            </a:extLst>
          </p:cNvPr>
          <p:cNvSpPr txBox="1"/>
          <p:nvPr/>
        </p:nvSpPr>
        <p:spPr>
          <a:xfrm>
            <a:off x="1232380" y="32244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65FDFE-043E-47C3-33C9-DC61F2D0D613}"/>
              </a:ext>
            </a:extLst>
          </p:cNvPr>
          <p:cNvSpPr txBox="1"/>
          <p:nvPr/>
        </p:nvSpPr>
        <p:spPr>
          <a:xfrm>
            <a:off x="1232380" y="28455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EDBD337-BF43-B353-48D4-46EABDB247DA}"/>
              </a:ext>
            </a:extLst>
          </p:cNvPr>
          <p:cNvSpPr txBox="1"/>
          <p:nvPr/>
        </p:nvSpPr>
        <p:spPr>
          <a:xfrm>
            <a:off x="1766775" y="608806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0E0F5B-4386-5FAD-D047-2C1237AE465F}"/>
              </a:ext>
            </a:extLst>
          </p:cNvPr>
          <p:cNvSpPr txBox="1"/>
          <p:nvPr/>
        </p:nvSpPr>
        <p:spPr>
          <a:xfrm>
            <a:off x="1766775" y="536798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160F12-A7D0-A1C1-4FBA-4FF9EE5AB671}"/>
              </a:ext>
            </a:extLst>
          </p:cNvPr>
          <p:cNvSpPr txBox="1"/>
          <p:nvPr/>
        </p:nvSpPr>
        <p:spPr>
          <a:xfrm>
            <a:off x="1766775" y="572802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15CB47-4209-4F3A-F147-BEFB67CA4A33}"/>
              </a:ext>
            </a:extLst>
          </p:cNvPr>
          <p:cNvSpPr txBox="1"/>
          <p:nvPr/>
        </p:nvSpPr>
        <p:spPr>
          <a:xfrm>
            <a:off x="1766775" y="500794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26496E-C32C-6A85-1850-2D90FBB8DB19}"/>
              </a:ext>
            </a:extLst>
          </p:cNvPr>
          <p:cNvSpPr txBox="1"/>
          <p:nvPr/>
        </p:nvSpPr>
        <p:spPr>
          <a:xfrm>
            <a:off x="1766775" y="284555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21C6B3-3982-5660-CBF3-05E249FE215C}"/>
              </a:ext>
            </a:extLst>
          </p:cNvPr>
          <p:cNvSpPr txBox="1"/>
          <p:nvPr/>
        </p:nvSpPr>
        <p:spPr>
          <a:xfrm>
            <a:off x="1766775" y="4647900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4D6E38-B177-815D-B715-9FE5591B41EA}"/>
              </a:ext>
            </a:extLst>
          </p:cNvPr>
          <p:cNvSpPr txBox="1"/>
          <p:nvPr/>
        </p:nvSpPr>
        <p:spPr>
          <a:xfrm>
            <a:off x="1766775" y="248551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9FD74C-59E4-6E44-4D61-0F1EF98695F3}"/>
              </a:ext>
            </a:extLst>
          </p:cNvPr>
          <p:cNvSpPr txBox="1"/>
          <p:nvPr/>
        </p:nvSpPr>
        <p:spPr>
          <a:xfrm>
            <a:off x="1766775" y="176543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B163EA-CA27-5021-063E-AEC077AFF37A}"/>
              </a:ext>
            </a:extLst>
          </p:cNvPr>
          <p:cNvSpPr txBox="1"/>
          <p:nvPr/>
        </p:nvSpPr>
        <p:spPr>
          <a:xfrm>
            <a:off x="1766775" y="2125475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ED5604-D06E-3CC7-7B5D-77D21A75B979}"/>
              </a:ext>
            </a:extLst>
          </p:cNvPr>
          <p:cNvSpPr txBox="1"/>
          <p:nvPr/>
        </p:nvSpPr>
        <p:spPr>
          <a:xfrm>
            <a:off x="2301170" y="608806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D1E6506-750E-1D36-75CB-9AB11802750D}"/>
              </a:ext>
            </a:extLst>
          </p:cNvPr>
          <p:cNvSpPr txBox="1"/>
          <p:nvPr/>
        </p:nvSpPr>
        <p:spPr>
          <a:xfrm>
            <a:off x="2301170" y="572802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6C814A-5922-C6E5-7FED-AB8D5BEE0F21}"/>
              </a:ext>
            </a:extLst>
          </p:cNvPr>
          <p:cNvSpPr txBox="1"/>
          <p:nvPr/>
        </p:nvSpPr>
        <p:spPr>
          <a:xfrm>
            <a:off x="2301170" y="536798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32BF6A-C30E-2186-A1FB-E2DC42DF4419}"/>
              </a:ext>
            </a:extLst>
          </p:cNvPr>
          <p:cNvSpPr txBox="1"/>
          <p:nvPr/>
        </p:nvSpPr>
        <p:spPr>
          <a:xfrm>
            <a:off x="2301170" y="500794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417973-8FA0-D878-3A1F-E33C318B8739}"/>
              </a:ext>
            </a:extLst>
          </p:cNvPr>
          <p:cNvSpPr txBox="1"/>
          <p:nvPr/>
        </p:nvSpPr>
        <p:spPr>
          <a:xfrm>
            <a:off x="2301170" y="4647900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D21F1F-EF52-E0A8-3F4C-2EF1CC2DDE9C}"/>
              </a:ext>
            </a:extLst>
          </p:cNvPr>
          <p:cNvSpPr txBox="1"/>
          <p:nvPr/>
        </p:nvSpPr>
        <p:spPr>
          <a:xfrm>
            <a:off x="2301170" y="42595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8DC308-2D43-FB1F-A926-8125171B9014}"/>
              </a:ext>
            </a:extLst>
          </p:cNvPr>
          <p:cNvSpPr txBox="1"/>
          <p:nvPr/>
        </p:nvSpPr>
        <p:spPr>
          <a:xfrm>
            <a:off x="2301170" y="248551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0CE0CB-380F-AC24-D53F-E034665FD3C7}"/>
              </a:ext>
            </a:extLst>
          </p:cNvPr>
          <p:cNvSpPr txBox="1"/>
          <p:nvPr/>
        </p:nvSpPr>
        <p:spPr>
          <a:xfrm>
            <a:off x="2301170" y="212547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D903883-A01A-65E0-4E79-BCC823D6E167}"/>
              </a:ext>
            </a:extLst>
          </p:cNvPr>
          <p:cNvSpPr txBox="1"/>
          <p:nvPr/>
        </p:nvSpPr>
        <p:spPr>
          <a:xfrm>
            <a:off x="2301170" y="1765435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E7FD0A-3687-6BD4-15A9-3405D5B6A284}"/>
              </a:ext>
            </a:extLst>
          </p:cNvPr>
          <p:cNvSpPr txBox="1"/>
          <p:nvPr/>
        </p:nvSpPr>
        <p:spPr>
          <a:xfrm>
            <a:off x="2835565" y="608806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2B7E46-1A32-EBEF-0A6F-0DCBA26F3C0D}"/>
              </a:ext>
            </a:extLst>
          </p:cNvPr>
          <p:cNvSpPr txBox="1"/>
          <p:nvPr/>
        </p:nvSpPr>
        <p:spPr>
          <a:xfrm>
            <a:off x="2835565" y="572802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A27E7FC-D8C5-7137-7EE6-595A11C1D3BA}"/>
              </a:ext>
            </a:extLst>
          </p:cNvPr>
          <p:cNvSpPr txBox="1"/>
          <p:nvPr/>
        </p:nvSpPr>
        <p:spPr>
          <a:xfrm>
            <a:off x="2835565" y="5367980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437E98-F0B0-514E-45E7-7066E4F82935}"/>
              </a:ext>
            </a:extLst>
          </p:cNvPr>
          <p:cNvSpPr txBox="1"/>
          <p:nvPr/>
        </p:nvSpPr>
        <p:spPr>
          <a:xfrm>
            <a:off x="2835565" y="358448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558F22C-CB90-0FD4-67D2-0C7BA0353D98}"/>
              </a:ext>
            </a:extLst>
          </p:cNvPr>
          <p:cNvSpPr txBox="1"/>
          <p:nvPr/>
        </p:nvSpPr>
        <p:spPr>
          <a:xfrm>
            <a:off x="2835565" y="3224449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8605B42-E3A2-5B69-5AFF-F4CE67241150}"/>
              </a:ext>
            </a:extLst>
          </p:cNvPr>
          <p:cNvSpPr txBox="1"/>
          <p:nvPr/>
        </p:nvSpPr>
        <p:spPr>
          <a:xfrm>
            <a:off x="2835565" y="284555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025561-E058-F956-6CDE-312029E7941C}"/>
              </a:ext>
            </a:extLst>
          </p:cNvPr>
          <p:cNvSpPr txBox="1"/>
          <p:nvPr/>
        </p:nvSpPr>
        <p:spPr>
          <a:xfrm>
            <a:off x="2835565" y="248551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8E64E4-80BD-56CC-F4FC-7B2FE5EFD7B9}"/>
              </a:ext>
            </a:extLst>
          </p:cNvPr>
          <p:cNvSpPr txBox="1"/>
          <p:nvPr/>
        </p:nvSpPr>
        <p:spPr>
          <a:xfrm>
            <a:off x="2835565" y="212547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16F33F-ACA3-D3F2-E63E-2A6CF2C5CC76}"/>
              </a:ext>
            </a:extLst>
          </p:cNvPr>
          <p:cNvSpPr txBox="1"/>
          <p:nvPr/>
        </p:nvSpPr>
        <p:spPr>
          <a:xfrm>
            <a:off x="2835565" y="1765435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4066E77-7F1F-DA91-084B-C150EDCC6542}"/>
              </a:ext>
            </a:extLst>
          </p:cNvPr>
          <p:cNvCxnSpPr/>
          <p:nvPr/>
        </p:nvCxnSpPr>
        <p:spPr>
          <a:xfrm>
            <a:off x="735291" y="4110087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8360B79-D75E-B732-8D10-F84F95DFC300}"/>
              </a:ext>
            </a:extLst>
          </p:cNvPr>
          <p:cNvCxnSpPr/>
          <p:nvPr/>
        </p:nvCxnSpPr>
        <p:spPr>
          <a:xfrm>
            <a:off x="3536623" y="1765435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401367F-1486-4F91-3F0E-6987A3E2EB27}"/>
              </a:ext>
            </a:extLst>
          </p:cNvPr>
          <p:cNvCxnSpPr/>
          <p:nvPr/>
        </p:nvCxnSpPr>
        <p:spPr>
          <a:xfrm>
            <a:off x="3536623" y="3953821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8DF20C9-35BE-A956-2AF5-586D1B548D88}"/>
              </a:ext>
            </a:extLst>
          </p:cNvPr>
          <p:cNvSpPr txBox="1"/>
          <p:nvPr/>
        </p:nvSpPr>
        <p:spPr>
          <a:xfrm>
            <a:off x="4355184" y="1564851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0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75F8B0-C875-8B42-ADC0-0DEF2D65CA79}"/>
              </a:ext>
            </a:extLst>
          </p:cNvPr>
          <p:cNvSpPr txBox="1"/>
          <p:nvPr/>
        </p:nvSpPr>
        <p:spPr>
          <a:xfrm>
            <a:off x="4355185" y="3740755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5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DFF2BB7-B851-6BB7-FF13-1DD936A9B1CE}"/>
              </a:ext>
            </a:extLst>
          </p:cNvPr>
          <p:cNvSpPr txBox="1"/>
          <p:nvPr/>
        </p:nvSpPr>
        <p:spPr>
          <a:xfrm>
            <a:off x="4355184" y="5149210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5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DB2C2C1-ECCA-70EC-513C-E498FC450A4A}"/>
              </a:ext>
            </a:extLst>
          </p:cNvPr>
          <p:cNvSpPr txBox="1"/>
          <p:nvPr/>
        </p:nvSpPr>
        <p:spPr>
          <a:xfrm>
            <a:off x="4355184" y="6193886"/>
            <a:ext cx="57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343A2"/>
                </a:solidFill>
              </a:rPr>
              <a:t>170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381975C-35CF-274B-2141-DB0C88C9A422}"/>
              </a:ext>
            </a:extLst>
          </p:cNvPr>
          <p:cNvCxnSpPr/>
          <p:nvPr/>
        </p:nvCxnSpPr>
        <p:spPr>
          <a:xfrm>
            <a:off x="3536623" y="5345261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D913A32-2247-8826-74B6-5CA709A1D3D1}"/>
              </a:ext>
            </a:extLst>
          </p:cNvPr>
          <p:cNvCxnSpPr/>
          <p:nvPr/>
        </p:nvCxnSpPr>
        <p:spPr>
          <a:xfrm>
            <a:off x="3536623" y="6421519"/>
            <a:ext cx="6975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6E01099-3F0B-F46B-6471-8C0B17E0F529}"/>
              </a:ext>
            </a:extLst>
          </p:cNvPr>
          <p:cNvSpPr txBox="1"/>
          <p:nvPr/>
        </p:nvSpPr>
        <p:spPr>
          <a:xfrm>
            <a:off x="6457549" y="2106891"/>
            <a:ext cx="30442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A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B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C</a:t>
            </a:r>
            <a:r>
              <a:rPr lang="en-US" sz="24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D</a:t>
            </a:r>
          </a:p>
          <a:p>
            <a:r>
              <a:rPr lang="nl-BE" sz="24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endParaRPr lang="nl-BE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24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D </a:t>
            </a:r>
            <a:r>
              <a:rPr lang="nl-BE" sz="24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2400" dirty="0">
                <a:solidFill>
                  <a:srgbClr val="000000"/>
                </a:solidFill>
                <a:latin typeface="Consolas" panose="020B0609020204030204" pitchFamily="49" charset="0"/>
              </a:rPr>
              <a:t> 130</a:t>
            </a:r>
            <a:r>
              <a:rPr lang="nl-BE" sz="24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sz="2400" dirty="0"/>
          </a:p>
        </p:txBody>
      </p:sp>
      <p:sp>
        <p:nvSpPr>
          <p:cNvPr id="51" name="Multiplication Sign 50">
            <a:extLst>
              <a:ext uri="{FF2B5EF4-FFF2-40B4-BE49-F238E27FC236}">
                <a16:creationId xmlns:a16="http://schemas.microsoft.com/office/drawing/2014/main" id="{C15EEB5B-8086-27AE-0AED-8FC4C4C17146}"/>
              </a:ext>
            </a:extLst>
          </p:cNvPr>
          <p:cNvSpPr/>
          <p:nvPr/>
        </p:nvSpPr>
        <p:spPr>
          <a:xfrm>
            <a:off x="1176825" y="3409115"/>
            <a:ext cx="2151377" cy="3906558"/>
          </a:xfrm>
          <a:prstGeom prst="mathMultiply">
            <a:avLst/>
          </a:prstGeom>
          <a:solidFill>
            <a:srgbClr val="FF0000"/>
          </a:solidFill>
          <a:ln>
            <a:solidFill>
              <a:srgbClr val="FEB0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47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/>
      <p:bldP spid="45" grpId="0"/>
      <p:bldP spid="46" grpId="0"/>
      <p:bldP spid="51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5FFA7-9DF8-E7AE-8B21-E7A3AE5D7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 index - segment elimination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4D572D-1DF8-43F5-D305-F8E866F1E1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21817"/>
            <a:ext cx="5261454" cy="28361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306A4F-3F33-2BF6-9603-78431FF49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4855230"/>
            <a:ext cx="10942857" cy="96190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29CFE28-E199-2E4D-626A-BB407F21DE98}"/>
              </a:ext>
            </a:extLst>
          </p:cNvPr>
          <p:cNvSpPr/>
          <p:nvPr/>
        </p:nvSpPr>
        <p:spPr>
          <a:xfrm>
            <a:off x="1276895" y="5372066"/>
            <a:ext cx="3392382" cy="2754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16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ED9CC-8A8C-03FC-D0A1-72BF01856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tch mode FTW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55B8D-55B3-20E6-6E2A-3A0E805354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cesses rows in batches of ~900 rows</a:t>
            </a:r>
          </a:p>
          <a:p>
            <a:r>
              <a:rPr lang="en-US" dirty="0"/>
              <a:t>Ideal for data warehousing scenarios</a:t>
            </a:r>
          </a:p>
          <a:p>
            <a:r>
              <a:rPr lang="en-US" dirty="0"/>
              <a:t>Since SQL Server 2019+ (and Azure SQL DB), also available for tables that don’t have a columnstore index</a:t>
            </a:r>
            <a:endParaRPr lang="nl-BE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8AEA4E0-B821-33EF-1CD7-7F25D97BF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3700868"/>
            <a:ext cx="4838700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4E2101E-85AF-A8DB-2DA1-D39ECE82C7CD}"/>
              </a:ext>
            </a:extLst>
          </p:cNvPr>
          <p:cNvSpPr/>
          <p:nvPr/>
        </p:nvSpPr>
        <p:spPr>
          <a:xfrm>
            <a:off x="4399808" y="5463815"/>
            <a:ext cx="4115541" cy="2754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43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D9D63A2-54E1-E5B0-7B8E-25AFF9CB1C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509B55B8-7416-7035-ED20-5E23822F0B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35275"/>
            <a:ext cx="5080312" cy="321340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7B39971-7B68-0934-F44D-FD3CAB2EDB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3384" y="4376098"/>
            <a:ext cx="7277731" cy="153175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1B1A18CC-B54D-39CE-9203-4F15B6E6344E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46BC7D9-9E07-4F35-19E5-1B5F9918E5DD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37F2F8E-1704-7AE2-6FD5-547B421D2EF7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04F35E95-29AF-E8D6-8C00-D74BACB814B9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0D5826A-D40E-A172-33BC-A29B3E8F21ED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</a:t>
                </a:r>
                <a:r>
                  <a:rPr lang="en-GB" sz="2500" b="1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entury Gothic"/>
                  </a:rPr>
                  <a:t>6</a:t>
                </a:r>
                <a:endParaRPr kumimoji="0" lang="en-GB" sz="2500" b="1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6465248-6142-0747-627C-CCD162A0B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4D1A3C32-6C02-8C74-0672-F28C28ED1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Columnstore index</a:t>
            </a:r>
            <a:endParaRPr lang="nl-BE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DE16AE-411F-3BD2-FB88-92A23BB2CAC2}"/>
              </a:ext>
            </a:extLst>
          </p:cNvPr>
          <p:cNvSpPr/>
          <p:nvPr/>
        </p:nvSpPr>
        <p:spPr>
          <a:xfrm>
            <a:off x="6883706" y="4500019"/>
            <a:ext cx="1279906" cy="1993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6AA060-ACD4-9CDF-0E1E-77AA02A9303F}"/>
              </a:ext>
            </a:extLst>
          </p:cNvPr>
          <p:cNvSpPr/>
          <p:nvPr/>
        </p:nvSpPr>
        <p:spPr>
          <a:xfrm>
            <a:off x="9344721" y="5295533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D65AA-6F1A-1AA7-0C83-17948AFED9B4}"/>
              </a:ext>
            </a:extLst>
          </p:cNvPr>
          <p:cNvSpPr txBox="1"/>
          <p:nvPr/>
        </p:nvSpPr>
        <p:spPr>
          <a:xfrm>
            <a:off x="830980" y="1302393"/>
            <a:ext cx="70592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[City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Ke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</a:p>
          <a:p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SalesAmou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latin typeface="Consolas" panose="020B0609020204030204" pitchFamily="49" charset="0"/>
              </a:rPr>
              <a:t>SUM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[Total Including Tax]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Fact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Order_Big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[Order Date Key]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gt;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2015-01-01'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[Order Date Key] 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&lt;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onsolas" panose="020B0609020204030204" pitchFamily="49" charset="0"/>
              </a:rPr>
              <a:t>'2016-01-01'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GROUP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[City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Key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395EE8-5C5C-5371-C414-43DCFBF3F2A0}"/>
              </a:ext>
            </a:extLst>
          </p:cNvPr>
          <p:cNvSpPr/>
          <p:nvPr/>
        </p:nvSpPr>
        <p:spPr>
          <a:xfrm>
            <a:off x="6349328" y="5535151"/>
            <a:ext cx="2191357" cy="2066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728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 animBg="1"/>
      <p:bldP spid="25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D00A2-9535-2289-C836-EE95F75ED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er-known index typ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4ABD1E-E8E5-8E9B-EBF3-5072138D26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60624"/>
          </a:xfrm>
        </p:spPr>
        <p:txBody>
          <a:bodyPr/>
          <a:lstStyle/>
          <a:p>
            <a:r>
              <a:rPr lang="en-US" b="1" dirty="0"/>
              <a:t>XML index</a:t>
            </a:r>
          </a:p>
          <a:p>
            <a:pPr lvl="1"/>
            <a:r>
              <a:rPr lang="en-US" dirty="0"/>
              <a:t>primary and secondary index</a:t>
            </a:r>
          </a:p>
          <a:p>
            <a:pPr lvl="1"/>
            <a:r>
              <a:rPr lang="en-US" dirty="0"/>
              <a:t>on values, paths or properties</a:t>
            </a:r>
          </a:p>
          <a:p>
            <a:pPr lvl="1"/>
            <a:r>
              <a:rPr lang="en-US" dirty="0"/>
              <a:t>never encountered one in real-life</a:t>
            </a:r>
          </a:p>
          <a:p>
            <a:pPr lvl="1"/>
            <a:endParaRPr lang="en-US" dirty="0"/>
          </a:p>
          <a:p>
            <a:r>
              <a:rPr lang="en-US" b="1" dirty="0"/>
              <a:t>Spatial index</a:t>
            </a:r>
          </a:p>
          <a:p>
            <a:pPr lvl="1"/>
            <a:r>
              <a:rPr lang="en-US" dirty="0"/>
              <a:t>for either geometry or geography</a:t>
            </a:r>
          </a:p>
          <a:p>
            <a:pPr lvl="1"/>
            <a:r>
              <a:rPr lang="en-US" dirty="0"/>
              <a:t>quite complicated imo</a:t>
            </a:r>
          </a:p>
          <a:p>
            <a:pPr lvl="1"/>
            <a:r>
              <a:rPr lang="en-US" dirty="0"/>
              <a:t>also never seen one</a:t>
            </a:r>
          </a:p>
          <a:p>
            <a:pPr lvl="1"/>
            <a:endParaRPr lang="en-US" dirty="0"/>
          </a:p>
          <a:p>
            <a:r>
              <a:rPr lang="en-US" b="1" noProof="0" dirty="0"/>
              <a:t>Full-text index</a:t>
            </a:r>
          </a:p>
          <a:p>
            <a:pPr lvl="1"/>
            <a:r>
              <a:rPr lang="en-US" noProof="0" dirty="0"/>
              <a:t>only one per table, but up to 1024 columns</a:t>
            </a:r>
          </a:p>
          <a:p>
            <a:pPr lvl="1"/>
            <a:r>
              <a:rPr lang="en-US" noProof="0" dirty="0"/>
              <a:t>this technology is probably outdated</a:t>
            </a:r>
          </a:p>
          <a:p>
            <a:pPr lvl="1"/>
            <a:r>
              <a:rPr lang="en-US" noProof="0" dirty="0"/>
              <a:t>like the other two, I’ve only seen this on certification exam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21501E-A6FE-2C0A-1A75-0DB006DA4B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9462" y="1979874"/>
            <a:ext cx="6002538" cy="289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7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8FA2E2-A4FB-6367-8BBF-D9DD778E90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hat are indexe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4E87D-9821-D86A-F736-0ABD0C5FA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1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9B72C-FE1C-899D-FF7F-1664F58A19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lustered Index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DFB22-4C38-62A5-FC03-609D4AAC09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2</a:t>
            </a:r>
            <a:endParaRPr lang="nl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794D7A-7DC9-EF4F-B903-7E28DC6FBF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Nonclustered</a:t>
            </a:r>
            <a:r>
              <a:rPr lang="en-US" dirty="0"/>
              <a:t> Index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24DFB7-9FB6-783B-8FD7-E1F2CE62CB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3</a:t>
            </a:r>
            <a:endParaRPr lang="nl-B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DE0242-4264-F0DC-EFDC-5A2A813275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Other Types of Index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0CCE38-7A04-3131-575F-456E8179D1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4</a:t>
            </a:r>
            <a:endParaRPr lang="nl-B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247651E-C031-AAD6-DF56-86D447E3A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Indexes in Other Eng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683785-89E0-2814-81FB-6EE8D1DBBF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5</a:t>
            </a:r>
            <a:endParaRPr lang="nl-B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579CEC9-7A25-DE3A-4A1A-D79EC32CFF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Maintenanc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E4228AE-BF61-E5D7-2FCA-45D6C96090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06</a:t>
            </a:r>
            <a:endParaRPr lang="nl-BE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AA6BEA9-C080-96C4-73C9-7D9FF2B0D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utlin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654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11535-B841-3419-D4D9-5F3497597A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49583-6D66-AFC4-E548-3225D269B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er-known index typ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3C78FC-9F6F-C621-87FD-62414C998D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60624"/>
          </a:xfrm>
        </p:spPr>
        <p:txBody>
          <a:bodyPr/>
          <a:lstStyle/>
          <a:p>
            <a:r>
              <a:rPr lang="en-US" b="1" dirty="0"/>
              <a:t>Hash index</a:t>
            </a:r>
          </a:p>
          <a:p>
            <a:pPr lvl="1"/>
            <a:r>
              <a:rPr lang="en-US" dirty="0"/>
              <a:t>every memory-optimized table needs at least one index</a:t>
            </a:r>
          </a:p>
          <a:p>
            <a:pPr lvl="2"/>
            <a:r>
              <a:rPr lang="en-US" dirty="0"/>
              <a:t>either hash or </a:t>
            </a:r>
            <a:r>
              <a:rPr lang="en-US" dirty="0" err="1"/>
              <a:t>nonclustered</a:t>
            </a:r>
            <a:endParaRPr lang="en-US" dirty="0"/>
          </a:p>
          <a:p>
            <a:pPr lvl="1"/>
            <a:r>
              <a:rPr lang="en-US" dirty="0"/>
              <a:t>array of pointers</a:t>
            </a:r>
          </a:p>
          <a:p>
            <a:pPr lvl="1"/>
            <a:r>
              <a:rPr lang="en-US" dirty="0"/>
              <a:t>database engine has one hash function</a:t>
            </a:r>
          </a:p>
          <a:p>
            <a:pPr lvl="1"/>
            <a:r>
              <a:rPr lang="en-US" dirty="0"/>
              <a:t>needs a bucket count</a:t>
            </a:r>
          </a:p>
          <a:p>
            <a:pPr lvl="1"/>
            <a:r>
              <a:rPr lang="en-US" dirty="0"/>
              <a:t>defined using ALTER TABLE</a:t>
            </a:r>
          </a:p>
          <a:p>
            <a:pPr lvl="1"/>
            <a:endParaRPr lang="en-US" dirty="0"/>
          </a:p>
        </p:txBody>
      </p:sp>
      <p:pic>
        <p:nvPicPr>
          <p:cNvPr id="2050" name="Picture 2" descr="Diagram showing interaction between hash index and buckets.">
            <a:extLst>
              <a:ext uri="{FF2B5EF4-FFF2-40B4-BE49-F238E27FC236}">
                <a16:creationId xmlns:a16="http://schemas.microsoft.com/office/drawing/2014/main" id="{04280C31-DAA3-74B1-6BD5-467FF20BA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4319" y="4067489"/>
            <a:ext cx="3838575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CF098A-4B61-6BEC-E2A9-495EDAB1C57A}"/>
              </a:ext>
            </a:extLst>
          </p:cNvPr>
          <p:cNvSpPr txBox="1"/>
          <p:nvPr/>
        </p:nvSpPr>
        <p:spPr>
          <a:xfrm>
            <a:off x="838200" y="4367690"/>
            <a:ext cx="620599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_MemoryOptimizedTab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D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hash_myColumn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UNIQU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NON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HAS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BUCKET_COU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64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9181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224CF-214E-9679-2F54-442394956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w kid on the block: JSON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4D1CB4-3C20-2B83-EF12-353F6B2FA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QL Server 2025 introduces the </a:t>
            </a:r>
            <a:r>
              <a:rPr lang="en-US" b="1" dirty="0"/>
              <a:t>JSON data type</a:t>
            </a:r>
          </a:p>
          <a:p>
            <a:pPr lvl="1"/>
            <a:r>
              <a:rPr lang="en-US" dirty="0"/>
              <a:t>which already exists in Azure SQL DB/MI and Fabric SQL DB</a:t>
            </a:r>
          </a:p>
          <a:p>
            <a:r>
              <a:rPr lang="en-US" dirty="0"/>
              <a:t>… but getting the index to work can be tricky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9BF2BE-03A0-02A5-543B-7B9CA7D3D7ED}"/>
              </a:ext>
            </a:extLst>
          </p:cNvPr>
          <p:cNvSpPr txBox="1"/>
          <p:nvPr/>
        </p:nvSpPr>
        <p:spPr>
          <a:xfrm>
            <a:off x="1902619" y="2941282"/>
            <a:ext cx="484108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x_json</a:t>
            </a:r>
            <a:br>
              <a:rPr lang="nl-BE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</a:b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Test_Index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Data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br>
              <a:rPr lang="nl-BE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</a:br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R 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8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.FirstName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3A5189-703F-58CB-0C0F-696C5B9E1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2619" y="4503635"/>
            <a:ext cx="8895212" cy="15447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045B3A-244C-AFDB-7542-40E0C7AFC5BB}"/>
              </a:ext>
            </a:extLst>
          </p:cNvPr>
          <p:cNvSpPr/>
          <p:nvPr/>
        </p:nvSpPr>
        <p:spPr>
          <a:xfrm>
            <a:off x="7557924" y="4891540"/>
            <a:ext cx="2290926" cy="11568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41B7B7-FF4C-D9EC-79AB-EDBE2E9498E7}"/>
              </a:ext>
            </a:extLst>
          </p:cNvPr>
          <p:cNvSpPr txBox="1"/>
          <p:nvPr/>
        </p:nvSpPr>
        <p:spPr>
          <a:xfrm>
            <a:off x="7444143" y="3721422"/>
            <a:ext cx="41652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not the index we’re looking for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0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9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80E8E2C-7DC2-CF07-7292-E75571241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0042" y="4214813"/>
            <a:ext cx="7991916" cy="25541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837E0A1-42D0-4F67-9906-2C2F3A5BD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ON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CDCACD-EF53-C558-6B5A-E5937FB26A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From Daniel Hutmacher’s blog post </a:t>
            </a:r>
            <a:r>
              <a:rPr lang="en-US" dirty="0">
                <a:hlinkClick r:id="rId3"/>
              </a:rPr>
              <a:t>JSON indexes in SQL Server: First Impressions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CA4E8-94F0-01AF-7671-1CD0F883712D}"/>
              </a:ext>
            </a:extLst>
          </p:cNvPr>
          <p:cNvSpPr txBox="1"/>
          <p:nvPr/>
        </p:nvSpPr>
        <p:spPr>
          <a:xfrm>
            <a:off x="838200" y="1969794"/>
            <a:ext cx="620910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NDEX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IX_JSON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hicago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uildings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R 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Nam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Addresses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ITH 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A_COMPRESSION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GE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;</a:t>
            </a:r>
            <a:endParaRPr lang="nl-BE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94C257-2665-0155-70A5-329210799E11}"/>
              </a:ext>
            </a:extLst>
          </p:cNvPr>
          <p:cNvSpPr txBox="1"/>
          <p:nvPr/>
        </p:nvSpPr>
        <p:spPr>
          <a:xfrm>
            <a:off x="838199" y="3040259"/>
            <a:ext cx="942082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OUNT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hicago</a:t>
            </a:r>
            <a:r>
              <a:rPr lang="nl-BE" sz="16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uildings</a:t>
            </a:r>
            <a:endParaRPr lang="nl-BE" sz="16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6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S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La 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all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t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Name</a:t>
            </a:r>
            <a:r>
              <a:rPr lang="nl-BE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=</a:t>
            </a:r>
            <a:r>
              <a:rPr lang="nl-BE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blob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09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en-US" sz="16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reetAddresses</a:t>
            </a:r>
            <a:r>
              <a:rPr lang="en-US" sz="16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[*]'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nl-BE" sz="16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A3895-EABE-24BB-C128-69DF4677F56E}"/>
              </a:ext>
            </a:extLst>
          </p:cNvPr>
          <p:cNvSpPr/>
          <p:nvPr/>
        </p:nvSpPr>
        <p:spPr>
          <a:xfrm>
            <a:off x="6096000" y="4475747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0F2B9D-B628-8162-1340-9ED52929FD94}"/>
              </a:ext>
            </a:extLst>
          </p:cNvPr>
          <p:cNvSpPr/>
          <p:nvPr/>
        </p:nvSpPr>
        <p:spPr>
          <a:xfrm>
            <a:off x="7800474" y="5700725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0D613C9-0EE6-620D-17D0-3482F9DE9FC5}"/>
              </a:ext>
            </a:extLst>
          </p:cNvPr>
          <p:cNvSpPr/>
          <p:nvPr/>
        </p:nvSpPr>
        <p:spPr>
          <a:xfrm>
            <a:off x="2100042" y="5700725"/>
            <a:ext cx="2602832" cy="3215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88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DD7EE">
            <a:alpha val="50000"/>
          </a:srgb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13858C9-FAE4-F6C3-F072-688BB23AA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1DA415F-20F8-E2B7-D8F3-8F08D92C90EA}"/>
              </a:ext>
            </a:extLst>
          </p:cNvPr>
          <p:cNvGrpSpPr/>
          <p:nvPr/>
        </p:nvGrpSpPr>
        <p:grpSpPr>
          <a:xfrm>
            <a:off x="9344721" y="-2107580"/>
            <a:ext cx="4304371" cy="4304371"/>
            <a:chOff x="9344721" y="-2107580"/>
            <a:chExt cx="4304371" cy="430437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72D9F87-4D21-DEDA-D4AA-FBD0406E5841}"/>
                </a:ext>
              </a:extLst>
            </p:cNvPr>
            <p:cNvGrpSpPr/>
            <p:nvPr/>
          </p:nvGrpSpPr>
          <p:grpSpPr>
            <a:xfrm>
              <a:off x="9344721" y="-2107580"/>
              <a:ext cx="4304371" cy="4304371"/>
              <a:chOff x="9344721" y="-2107580"/>
              <a:chExt cx="4304371" cy="4304371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FA848D0-5003-2367-ABDC-0F7F3DEBF2FA}"/>
                  </a:ext>
                </a:extLst>
              </p:cNvPr>
              <p:cNvSpPr/>
              <p:nvPr/>
            </p:nvSpPr>
            <p:spPr>
              <a:xfrm>
                <a:off x="9344721" y="-2107580"/>
                <a:ext cx="4304371" cy="4304371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9C6D6E4F-6A25-C6B5-0C42-838268B339F7}"/>
                  </a:ext>
                </a:extLst>
              </p:cNvPr>
              <p:cNvSpPr/>
              <p:nvPr/>
            </p:nvSpPr>
            <p:spPr>
              <a:xfrm>
                <a:off x="10280284" y="-1172017"/>
                <a:ext cx="2433244" cy="243324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6A3F37F-4D2E-037E-F2CF-7157E315FD96}"/>
                  </a:ext>
                </a:extLst>
              </p:cNvPr>
              <p:cNvSpPr/>
              <p:nvPr/>
            </p:nvSpPr>
            <p:spPr>
              <a:xfrm rot="2280000">
                <a:off x="9762200" y="156685"/>
                <a:ext cx="2362846" cy="137078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AMPLE</a:t>
                </a:r>
                <a:r>
                  <a:rPr kumimoji="0" lang="en-GB" sz="2500" b="1" i="0" u="none" strike="noStrike" kern="1200" cap="none" spc="0" normalizeH="0" baseline="0" noProof="0" dirty="0">
                    <a:ln w="0"/>
                    <a:solidFill>
                      <a:prstClr val="white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entury Gothic"/>
                    <a:ea typeface="+mn-ea"/>
                    <a:cs typeface="+mn-cs"/>
                  </a:rPr>
                  <a:t> 7</a:t>
                </a:r>
              </a:p>
            </p:txBody>
          </p:sp>
        </p:grp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4596291-3DE0-1D41-5935-76965DB885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442114" y="482277"/>
              <a:ext cx="593464" cy="283150"/>
            </a:xfrm>
            <a:prstGeom prst="rect">
              <a:avLst/>
            </a:prstGeom>
          </p:spPr>
        </p:pic>
      </p:grp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BF0EF79-18CD-F301-24E0-E71A3177C3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47199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ry JSON_CONTAINS instead of JSON_VALUE</a:t>
            </a:r>
            <a:endParaRPr lang="nl-BE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462B4A-07A7-FEE4-7F88-A31B3F48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</p:spPr>
        <p:txBody>
          <a:bodyPr/>
          <a:lstStyle/>
          <a:p>
            <a:r>
              <a:rPr lang="en-US" dirty="0"/>
              <a:t>JSON index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8D0F0D-96FC-1BAD-62A9-2EDB1366A208}"/>
              </a:ext>
            </a:extLst>
          </p:cNvPr>
          <p:cNvSpPr txBox="1"/>
          <p:nvPr/>
        </p:nvSpPr>
        <p:spPr>
          <a:xfrm>
            <a:off x="838200" y="2136883"/>
            <a:ext cx="86988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rstName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Name</a:t>
            </a:r>
            <a:endParaRPr lang="nl-BE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Test_Index</a:t>
            </a:r>
            <a:endParaRPr lang="nl-BE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_CONTAINS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sonData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David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$.</a:t>
            </a:r>
            <a:r>
              <a:rPr lang="nl-BE" sz="1800" dirty="0" err="1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.FirstName</a:t>
            </a:r>
            <a:r>
              <a:rPr lang="nl-BE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)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nl-BE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nl-BE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nl-B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EE35E-23E5-AB53-1F31-1EC1FCB813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3428999"/>
            <a:ext cx="5228204" cy="26589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5925C47-1A30-408E-8D18-EB9A39044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5113" y="3428999"/>
            <a:ext cx="5405661" cy="24063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5BF7822-5648-A15E-2540-308646BE3C7D}"/>
              </a:ext>
            </a:extLst>
          </p:cNvPr>
          <p:cNvSpPr/>
          <p:nvPr/>
        </p:nvSpPr>
        <p:spPr>
          <a:xfrm>
            <a:off x="8552250" y="3604473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FB259-E86D-7D3C-B28E-DB73393EB8E4}"/>
              </a:ext>
            </a:extLst>
          </p:cNvPr>
          <p:cNvSpPr/>
          <p:nvPr/>
        </p:nvSpPr>
        <p:spPr>
          <a:xfrm>
            <a:off x="8909188" y="4538920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04F776-900E-4D3F-86DB-3E8A1D776346}"/>
              </a:ext>
            </a:extLst>
          </p:cNvPr>
          <p:cNvSpPr/>
          <p:nvPr/>
        </p:nvSpPr>
        <p:spPr>
          <a:xfrm>
            <a:off x="8893142" y="5316954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68D49F-90F0-539B-A311-7AE240E3F85E}"/>
              </a:ext>
            </a:extLst>
          </p:cNvPr>
          <p:cNvSpPr/>
          <p:nvPr/>
        </p:nvSpPr>
        <p:spPr>
          <a:xfrm>
            <a:off x="9767434" y="5601692"/>
            <a:ext cx="1433960" cy="2125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7927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3" grpId="0" animBg="1"/>
      <p:bldP spid="18" grpId="0" animBg="1"/>
      <p:bldP spid="19" grpId="0" animBg="1"/>
      <p:bldP spid="20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1C15D-AC79-57F1-7F6E-0CBF2A231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DD474B-5054-C3B1-BCA4-8003AAC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6369892" cy="190310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dexes in Other Engines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57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EB8610-9321-7150-D29B-E57575A96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the indexes we’ve seen so far…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1982E32-FB2D-B044-3F65-4585D7FF45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… are available in the latest editions of SQL Server</a:t>
            </a:r>
          </a:p>
          <a:p>
            <a:pPr lvl="1"/>
            <a:r>
              <a:rPr lang="en-US" dirty="0"/>
              <a:t>except for the JSON index which is only available in SQL Server 2025</a:t>
            </a:r>
          </a:p>
          <a:p>
            <a:pPr lvl="1"/>
            <a:endParaRPr lang="en-US" dirty="0"/>
          </a:p>
          <a:p>
            <a:r>
              <a:rPr lang="en-US" dirty="0"/>
              <a:t>all of them (except JSON) are also available in the following products:</a:t>
            </a:r>
          </a:p>
          <a:p>
            <a:pPr lvl="1"/>
            <a:r>
              <a:rPr lang="en-US" dirty="0"/>
              <a:t>Azure SQL Database</a:t>
            </a:r>
          </a:p>
          <a:p>
            <a:pPr lvl="1"/>
            <a:r>
              <a:rPr lang="en-US" dirty="0"/>
              <a:t>Azure SQL Managed Instance</a:t>
            </a:r>
          </a:p>
          <a:p>
            <a:pPr lvl="1"/>
            <a:r>
              <a:rPr lang="en-US" dirty="0"/>
              <a:t>Fabric SQL Databa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0832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C6E27-4486-BA50-2F1B-121104BE9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apse Dedicated SQL Pool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3D0FB4-CD75-13EC-D25C-10327271E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By default, clustered columnstore index</a:t>
            </a:r>
          </a:p>
          <a:p>
            <a:r>
              <a:rPr lang="en-US" dirty="0"/>
              <a:t>If you want a heap, you need to explicitly specify i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Likewise, for (non)clustered (</a:t>
            </a:r>
            <a:r>
              <a:rPr lang="en-US" dirty="0" err="1"/>
              <a:t>rowstore</a:t>
            </a:r>
            <a:r>
              <a:rPr lang="en-US" dirty="0"/>
              <a:t>) index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37C6DC-9459-549E-9DD1-9F40AF5FD674}"/>
              </a:ext>
            </a:extLst>
          </p:cNvPr>
          <p:cNvSpPr txBox="1"/>
          <p:nvPr/>
        </p:nvSpPr>
        <p:spPr>
          <a:xfrm>
            <a:off x="1913021" y="2419491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HEAP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9C4FCB-24E8-079F-953E-B68F0C1EF6F7}"/>
              </a:ext>
            </a:extLst>
          </p:cNvPr>
          <p:cNvSpPr txBox="1"/>
          <p:nvPr/>
        </p:nvSpPr>
        <p:spPr>
          <a:xfrm>
            <a:off x="1913021" y="4533038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7543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3F1FD-894E-1007-E619-62272591A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F8BA4-396A-BD32-6194-5C67965B3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Distribu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34895-42C8-E05F-FC40-BBFD0F023E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b="1" dirty="0"/>
              <a:t>By default, clustered columnstore index</a:t>
            </a:r>
          </a:p>
          <a:p>
            <a:r>
              <a:rPr lang="en-US" dirty="0"/>
              <a:t>But data is also </a:t>
            </a:r>
            <a:r>
              <a:rPr lang="en-US" b="1" dirty="0"/>
              <a:t>distributed over compute nodes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dicated SQL Pool architecture</a:t>
            </a:r>
            <a:endParaRPr lang="en-US" dirty="0"/>
          </a:p>
        </p:txBody>
      </p:sp>
      <p:pic>
        <p:nvPicPr>
          <p:cNvPr id="4098" name="Picture 2" descr="Dedicated SQL pool (formerly SQL DW) architecture">
            <a:extLst>
              <a:ext uri="{FF2B5EF4-FFF2-40B4-BE49-F238E27FC236}">
                <a16:creationId xmlns:a16="http://schemas.microsoft.com/office/drawing/2014/main" id="{2AE01F9F-A531-95A9-5822-3DB132659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0" y="2512348"/>
            <a:ext cx="4191000" cy="322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35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C7D28C-78A3-A990-EAE9-552E57C4A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223B8-9E95-C41A-E5B5-5EAC19DEC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Distribu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2D93C9-4D7E-54C0-F07D-BCE90623E1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There are 3 possible distributions:</a:t>
            </a:r>
          </a:p>
          <a:p>
            <a:pPr lvl="1"/>
            <a:r>
              <a:rPr lang="en-US" dirty="0"/>
              <a:t>round-robin (default)</a:t>
            </a:r>
          </a:p>
          <a:p>
            <a:pPr lvl="1"/>
            <a:r>
              <a:rPr lang="en-US" dirty="0"/>
              <a:t>hash (ideal for facts)</a:t>
            </a:r>
          </a:p>
          <a:p>
            <a:pPr lvl="1"/>
            <a:r>
              <a:rPr lang="en-US" dirty="0"/>
              <a:t>replicate (ideal for dimensions)</a:t>
            </a:r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dicated SQL Pool architecture</a:t>
            </a:r>
            <a:endParaRPr lang="en-US" dirty="0"/>
          </a:p>
        </p:txBody>
      </p:sp>
      <p:pic>
        <p:nvPicPr>
          <p:cNvPr id="5122" name="Picture 2" descr="Diagram of a distributed table.">
            <a:extLst>
              <a:ext uri="{FF2B5EF4-FFF2-40B4-BE49-F238E27FC236}">
                <a16:creationId xmlns:a16="http://schemas.microsoft.com/office/drawing/2014/main" id="{FD522DE4-D605-FCE1-443A-153793EE4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457010"/>
            <a:ext cx="4178968" cy="2546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Replicated table">
            <a:extLst>
              <a:ext uri="{FF2B5EF4-FFF2-40B4-BE49-F238E27FC236}">
                <a16:creationId xmlns:a16="http://schemas.microsoft.com/office/drawing/2014/main" id="{3A30D094-0A4E-6D73-DC47-A1587502C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043" y="4152899"/>
            <a:ext cx="3971925" cy="270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0D0BD73-CECB-CC7B-DC2F-974861743358}"/>
              </a:ext>
            </a:extLst>
          </p:cNvPr>
          <p:cNvSpPr txBox="1"/>
          <p:nvPr/>
        </p:nvSpPr>
        <p:spPr>
          <a:xfrm>
            <a:off x="1311441" y="3670909"/>
            <a:ext cx="620829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CREAT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  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NULL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VARCHAR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20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WITH 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DISTRIBUTIO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HASH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column</a:t>
            </a:r>
            <a:r>
              <a:rPr lang="nl-BE" sz="1800" dirty="0">
                <a:solidFill>
                  <a:srgbClr val="808080"/>
                </a:solidFill>
                <a:latin typeface="Consolas" panose="020B0609020204030204" pitchFamily="49" charset="0"/>
              </a:rPr>
              <a:t>));</a:t>
            </a:r>
            <a:endParaRPr lang="nl-BE" sz="18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349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88DCD-53FE-B03E-F5E4-2FF72B22B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icated SQL Pool - Constrain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6BE975-2117-6E8A-6570-9E6E9FC2C7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</a:t>
            </a:r>
            <a:r>
              <a:rPr lang="en-US" b="1" dirty="0"/>
              <a:t>no primary, foreign or unique keys</a:t>
            </a:r>
          </a:p>
          <a:p>
            <a:pPr lvl="1"/>
            <a:r>
              <a:rPr lang="en-US" dirty="0"/>
              <a:t>well, you can create them, but they’re not enforc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is is actually quite common in</a:t>
            </a:r>
            <a:br>
              <a:rPr lang="en-US" dirty="0"/>
            </a:br>
            <a:r>
              <a:rPr lang="en-US" dirty="0"/>
              <a:t>cloud distributed data warehouses</a:t>
            </a:r>
            <a:endParaRPr lang="nl-B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AADCC4-613C-5392-5CE8-37C1E97FA57C}"/>
              </a:ext>
            </a:extLst>
          </p:cNvPr>
          <p:cNvSpPr txBox="1"/>
          <p:nvPr/>
        </p:nvSpPr>
        <p:spPr>
          <a:xfrm>
            <a:off x="1275346" y="2505670"/>
            <a:ext cx="831382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>
                <a:solidFill>
                  <a:srgbClr val="0000FF"/>
                </a:solidFill>
                <a:latin typeface="Consolas" panose="020B0609020204030204" pitchFamily="49" charset="0"/>
              </a:rPr>
              <a:t>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nl-BE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nl-BE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nl-BE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D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ONSTRAI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PK_myTable</a:t>
            </a:r>
            <a:b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PRIMAR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KE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CLUSTERE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NO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ENFORCED</a:t>
            </a:r>
            <a:endParaRPr lang="nl-BE" dirty="0"/>
          </a:p>
        </p:txBody>
      </p:sp>
      <p:pic>
        <p:nvPicPr>
          <p:cNvPr id="3074" name="Picture 2" descr="a man in a black sweater is making a funny face while holding his hands together and saying ew .">
            <a:extLst>
              <a:ext uri="{FF2B5EF4-FFF2-40B4-BE49-F238E27FC236}">
                <a16:creationId xmlns:a16="http://schemas.microsoft.com/office/drawing/2014/main" id="{0BFC3DED-0DC4-B627-3AC3-34666DC55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255" y="2610853"/>
            <a:ext cx="3373040" cy="337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69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B5D154-78A5-3D95-20A3-1CDB6AFE06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What are indexes?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30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E535A-677A-466D-4264-46CF2ED26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bric Warehous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66A13-4114-62DA-FFEB-C578F63FC4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is stored as </a:t>
            </a:r>
            <a:r>
              <a:rPr lang="en-US" b="1" dirty="0"/>
              <a:t>Parquet</a:t>
            </a:r>
            <a:r>
              <a:rPr lang="en-US" dirty="0"/>
              <a:t> files using the delta transaction layer</a:t>
            </a:r>
          </a:p>
          <a:p>
            <a:endParaRPr lang="nl-BE" b="1" dirty="0"/>
          </a:p>
          <a:p>
            <a:r>
              <a:rPr lang="nl-BE" b="1" dirty="0" err="1"/>
              <a:t>There</a:t>
            </a:r>
            <a:r>
              <a:rPr lang="nl-BE" b="1" dirty="0"/>
              <a:t> are no </a:t>
            </a:r>
            <a:r>
              <a:rPr lang="nl-BE" b="1" dirty="0" err="1"/>
              <a:t>indexes</a:t>
            </a:r>
            <a:endParaRPr lang="nl-BE" b="1" dirty="0"/>
          </a:p>
          <a:p>
            <a:endParaRPr lang="nl-BE" dirty="0"/>
          </a:p>
          <a:p>
            <a:r>
              <a:rPr lang="nl-BE" dirty="0" err="1"/>
              <a:t>Due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nature of </a:t>
            </a:r>
            <a:r>
              <a:rPr lang="nl-BE" dirty="0" err="1"/>
              <a:t>Parquet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its</a:t>
            </a:r>
            <a:r>
              <a:rPr lang="nl-BE" dirty="0"/>
              <a:t> </a:t>
            </a:r>
            <a:r>
              <a:rPr lang="nl-BE" dirty="0" err="1"/>
              <a:t>compression</a:t>
            </a:r>
            <a:r>
              <a:rPr lang="nl-BE" dirty="0"/>
              <a:t>, </a:t>
            </a:r>
            <a:r>
              <a:rPr lang="nl-BE" dirty="0" err="1"/>
              <a:t>it’s</a:t>
            </a:r>
            <a:r>
              <a:rPr lang="nl-BE" dirty="0"/>
              <a:t> </a:t>
            </a:r>
            <a:r>
              <a:rPr lang="nl-BE" dirty="0" err="1"/>
              <a:t>similar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having</a:t>
            </a:r>
            <a:r>
              <a:rPr lang="nl-BE" dirty="0"/>
              <a:t> a </a:t>
            </a:r>
            <a:r>
              <a:rPr lang="nl-BE" dirty="0" err="1"/>
              <a:t>clustered</a:t>
            </a:r>
            <a:r>
              <a:rPr lang="nl-BE" dirty="0"/>
              <a:t> columnstore index</a:t>
            </a:r>
          </a:p>
          <a:p>
            <a:endParaRPr lang="nl-BE" dirty="0"/>
          </a:p>
          <a:p>
            <a:r>
              <a:rPr lang="nl-BE" dirty="0" err="1"/>
              <a:t>You</a:t>
            </a:r>
            <a:r>
              <a:rPr lang="nl-BE" dirty="0"/>
              <a:t> </a:t>
            </a:r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create</a:t>
            </a:r>
            <a:r>
              <a:rPr lang="nl-BE" dirty="0"/>
              <a:t> </a:t>
            </a:r>
            <a:r>
              <a:rPr lang="nl-BE" dirty="0" err="1"/>
              <a:t>constraints</a:t>
            </a:r>
            <a:r>
              <a:rPr lang="nl-BE" dirty="0"/>
              <a:t> but </a:t>
            </a:r>
            <a:r>
              <a:rPr lang="nl-BE" dirty="0" err="1"/>
              <a:t>they’re</a:t>
            </a:r>
            <a:r>
              <a:rPr lang="nl-BE" dirty="0"/>
              <a:t> </a:t>
            </a:r>
            <a:r>
              <a:rPr lang="nl-BE" dirty="0" err="1"/>
              <a:t>not</a:t>
            </a:r>
            <a:r>
              <a:rPr lang="nl-BE" dirty="0"/>
              <a:t> </a:t>
            </a:r>
            <a:r>
              <a:rPr lang="nl-BE" dirty="0" err="1"/>
              <a:t>enforced</a:t>
            </a:r>
            <a:r>
              <a:rPr lang="nl-BE" dirty="0"/>
              <a:t>, like in </a:t>
            </a:r>
            <a:r>
              <a:rPr lang="nl-BE" dirty="0" err="1"/>
              <a:t>Dedicated</a:t>
            </a:r>
            <a:r>
              <a:rPr lang="nl-BE" dirty="0"/>
              <a:t> SQL Pool</a:t>
            </a:r>
          </a:p>
          <a:p>
            <a:r>
              <a:rPr lang="nl-BE" dirty="0"/>
              <a:t>Shift in </a:t>
            </a:r>
            <a:r>
              <a:rPr lang="nl-BE" dirty="0" err="1"/>
              <a:t>mentality</a:t>
            </a:r>
            <a:r>
              <a:rPr lang="nl-BE" dirty="0"/>
              <a:t> on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improve</a:t>
            </a:r>
            <a:r>
              <a:rPr lang="nl-BE" dirty="0"/>
              <a:t> performance</a:t>
            </a:r>
          </a:p>
          <a:p>
            <a:pPr lvl="1"/>
            <a:r>
              <a:rPr lang="en-US" dirty="0">
                <a:hlinkClick r:id="rId2"/>
              </a:rPr>
              <a:t>Performance guidelines in Fabric Data Warehouse</a:t>
            </a:r>
            <a:endParaRPr lang="nl-BE" dirty="0"/>
          </a:p>
        </p:txBody>
      </p:sp>
      <p:pic>
        <p:nvPicPr>
          <p:cNvPr id="6146" name="Picture 2" descr="Microsoft Fabric documentation - Microsoft Fabric | Microsoft Learn">
            <a:extLst>
              <a:ext uri="{FF2B5EF4-FFF2-40B4-BE49-F238E27FC236}">
                <a16:creationId xmlns:a16="http://schemas.microsoft.com/office/drawing/2014/main" id="{EE5E2FAA-C079-1D8B-6142-C3FA4A4FD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873" y="1289981"/>
            <a:ext cx="1640305" cy="164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87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5435C-2B4B-946B-48C9-6C2DAA621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mos DB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DD8B16-7864-932D-4D0F-AA4C209ED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e </a:t>
            </a:r>
            <a:r>
              <a:rPr lang="en-US" b="1" dirty="0"/>
              <a:t>NoSQL API</a:t>
            </a:r>
            <a:r>
              <a:rPr lang="en-US" dirty="0"/>
              <a:t>, you can also create a “JSON index” through an </a:t>
            </a:r>
            <a:r>
              <a:rPr lang="en-US" b="1" dirty="0"/>
              <a:t>indexing policy</a:t>
            </a:r>
            <a:endParaRPr lang="nl-BE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E2A580-E875-6D61-3647-90EC175E73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559" y="2173487"/>
            <a:ext cx="5905753" cy="4170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9934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DCCB91-B766-08C2-4575-0B2B364F5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AA8451-604A-7F85-4B83-057AAAB30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6369892" cy="190310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aintenance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84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9AED1D-FFBB-8248-9D01-6D4908161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26B6A2-343C-C3EA-A6EB-C3119E070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Fragmenta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EAA1-26F3-40EC-6983-939332AC76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0515600" cy="5497242"/>
          </a:xfrm>
        </p:spPr>
        <p:txBody>
          <a:bodyPr>
            <a:normAutofit/>
          </a:bodyPr>
          <a:lstStyle/>
          <a:p>
            <a:r>
              <a:rPr lang="en-US" dirty="0"/>
              <a:t>Indexes become </a:t>
            </a:r>
            <a:r>
              <a:rPr lang="en-US" b="1" dirty="0"/>
              <a:t>fragmented</a:t>
            </a:r>
            <a:r>
              <a:rPr lang="en-US" dirty="0"/>
              <a:t> over time due to inserts, updates and deletes</a:t>
            </a:r>
          </a:p>
          <a:p>
            <a:r>
              <a:rPr lang="nl-BE" dirty="0" err="1"/>
              <a:t>Fragmentation</a:t>
            </a:r>
            <a:r>
              <a:rPr lang="nl-BE" dirty="0"/>
              <a:t> </a:t>
            </a:r>
            <a:r>
              <a:rPr lang="nl-BE" dirty="0" err="1"/>
              <a:t>can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</a:t>
            </a:r>
            <a:r>
              <a:rPr lang="nl-BE" dirty="0" err="1"/>
              <a:t>resolved</a:t>
            </a:r>
            <a:r>
              <a:rPr lang="nl-BE" dirty="0"/>
              <a:t> </a:t>
            </a:r>
            <a:r>
              <a:rPr lang="nl-BE" dirty="0" err="1"/>
              <a:t>with</a:t>
            </a:r>
            <a:br>
              <a:rPr lang="nl-BE" dirty="0"/>
            </a:br>
            <a:endParaRPr lang="nl-BE" dirty="0"/>
          </a:p>
          <a:p>
            <a:pPr lvl="1"/>
            <a:r>
              <a:rPr lang="nl-BE" b="1" dirty="0"/>
              <a:t>REORGANIZE</a:t>
            </a:r>
            <a:r>
              <a:rPr lang="nl-BE" dirty="0"/>
              <a:t> - </a:t>
            </a:r>
            <a:r>
              <a:rPr lang="nl-BE" dirty="0" err="1"/>
              <a:t>defragments</a:t>
            </a:r>
            <a:r>
              <a:rPr lang="nl-BE" dirty="0"/>
              <a:t> </a:t>
            </a:r>
            <a:r>
              <a:rPr lang="nl-BE" dirty="0" err="1"/>
              <a:t>leaf</a:t>
            </a:r>
            <a:r>
              <a:rPr lang="nl-BE" dirty="0"/>
              <a:t> level of </a:t>
            </a:r>
            <a:r>
              <a:rPr lang="nl-BE" dirty="0" err="1"/>
              <a:t>the</a:t>
            </a:r>
            <a:r>
              <a:rPr lang="nl-BE" dirty="0"/>
              <a:t> index</a:t>
            </a:r>
          </a:p>
          <a:p>
            <a:pPr lvl="1"/>
            <a:endParaRPr lang="nl-BE" dirty="0"/>
          </a:p>
          <a:p>
            <a:pPr lvl="1"/>
            <a:endParaRPr lang="nl-BE" dirty="0"/>
          </a:p>
          <a:p>
            <a:pPr lvl="1"/>
            <a:endParaRPr lang="nl-BE" b="1" dirty="0"/>
          </a:p>
          <a:p>
            <a:pPr lvl="1"/>
            <a:r>
              <a:rPr lang="nl-BE" b="1" dirty="0"/>
              <a:t>REBUILD</a:t>
            </a:r>
            <a:r>
              <a:rPr lang="nl-BE" dirty="0"/>
              <a:t> - </a:t>
            </a:r>
            <a:r>
              <a:rPr lang="nl-BE" dirty="0" err="1"/>
              <a:t>drops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recreates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index</a:t>
            </a:r>
          </a:p>
          <a:p>
            <a:endParaRPr lang="nl-BE" dirty="0"/>
          </a:p>
          <a:p>
            <a:endParaRPr lang="nl-BE" dirty="0"/>
          </a:p>
          <a:p>
            <a:endParaRPr lang="nl-BE" dirty="0"/>
          </a:p>
          <a:p>
            <a:r>
              <a:rPr lang="nl-BE" dirty="0"/>
              <a:t>FILLFACTOR - index option </a:t>
            </a:r>
            <a:r>
              <a:rPr lang="nl-BE" dirty="0" err="1"/>
              <a:t>that</a:t>
            </a:r>
            <a:r>
              <a:rPr lang="nl-BE" dirty="0"/>
              <a:t> </a:t>
            </a:r>
            <a:r>
              <a:rPr lang="nl-BE" dirty="0" err="1"/>
              <a:t>specifies</a:t>
            </a:r>
            <a:r>
              <a:rPr lang="nl-BE" dirty="0"/>
              <a:t>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much</a:t>
            </a:r>
            <a:r>
              <a:rPr lang="nl-BE" dirty="0"/>
              <a:t> </a:t>
            </a:r>
            <a:r>
              <a:rPr lang="nl-BE" dirty="0" err="1"/>
              <a:t>space</a:t>
            </a:r>
            <a:r>
              <a:rPr lang="nl-BE" dirty="0"/>
              <a:t> in a </a:t>
            </a:r>
            <a:r>
              <a:rPr lang="nl-BE" dirty="0" err="1"/>
              <a:t>leaf</a:t>
            </a:r>
            <a:r>
              <a:rPr lang="nl-BE" dirty="0"/>
              <a:t> index page </a:t>
            </a:r>
            <a:r>
              <a:rPr lang="nl-BE" dirty="0" err="1"/>
              <a:t>should</a:t>
            </a:r>
            <a:r>
              <a:rPr lang="nl-BE" dirty="0"/>
              <a:t> </a:t>
            </a:r>
            <a:r>
              <a:rPr lang="nl-BE" dirty="0" err="1"/>
              <a:t>be</a:t>
            </a:r>
            <a:r>
              <a:rPr lang="nl-BE" dirty="0"/>
              <a:t> taken</a:t>
            </a:r>
            <a:br>
              <a:rPr lang="nl-BE" dirty="0"/>
            </a:br>
            <a:r>
              <a:rPr lang="nl-BE" dirty="0"/>
              <a:t>e.g. 80% </a:t>
            </a:r>
            <a:r>
              <a:rPr lang="nl-BE" dirty="0">
                <a:sym typeface="Wingdings" panose="05000000000000000000" pitchFamily="2" charset="2"/>
              </a:rPr>
              <a:t> </a:t>
            </a:r>
            <a:r>
              <a:rPr lang="nl-BE" dirty="0" err="1">
                <a:sym typeface="Wingdings" panose="05000000000000000000" pitchFamily="2" charset="2"/>
              </a:rPr>
              <a:t>the</a:t>
            </a:r>
            <a:r>
              <a:rPr lang="nl-BE" dirty="0">
                <a:sym typeface="Wingdings" panose="05000000000000000000" pitchFamily="2" charset="2"/>
              </a:rPr>
              <a:t> index page is 20% empty at </a:t>
            </a:r>
            <a:r>
              <a:rPr lang="nl-BE" dirty="0" err="1">
                <a:sym typeface="Wingdings" panose="05000000000000000000" pitchFamily="2" charset="2"/>
              </a:rPr>
              <a:t>creation</a:t>
            </a:r>
            <a:endParaRPr lang="nl-BE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AA57E7-1406-2AFA-23F4-0602A986B0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679113" y="6211888"/>
            <a:ext cx="1512887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5AB58A-E7BA-ADE8-52FC-6C33FD770463}"/>
              </a:ext>
            </a:extLst>
          </p:cNvPr>
          <p:cNvSpPr txBox="1"/>
          <p:nvPr/>
        </p:nvSpPr>
        <p:spPr>
          <a:xfrm>
            <a:off x="1961146" y="3095494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my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ORGANIZ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DD6ECB-2474-597C-E11F-427A843EEFDB}"/>
              </a:ext>
            </a:extLst>
          </p:cNvPr>
          <p:cNvSpPr txBox="1"/>
          <p:nvPr/>
        </p:nvSpPr>
        <p:spPr>
          <a:xfrm>
            <a:off x="1961145" y="4409117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X_myindex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BUIL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7F5F95-A618-8D19-8174-B25F4B3C57A9}"/>
              </a:ext>
            </a:extLst>
          </p:cNvPr>
          <p:cNvSpPr txBox="1"/>
          <p:nvPr/>
        </p:nvSpPr>
        <p:spPr>
          <a:xfrm>
            <a:off x="1961144" y="4883221"/>
            <a:ext cx="729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LT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DEX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</a:rPr>
              <a:t>ALL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dbo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myTabl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REBUIL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2825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8A398-9699-59A0-8CF6-A4337477B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Fragmentation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8A4B1-760C-8745-69CF-5769B9A280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eck health of an index with </a:t>
            </a:r>
            <a:r>
              <a:rPr lang="en-US" sz="2000" dirty="0" err="1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.dm_db_index_physical_stats</a:t>
            </a:r>
            <a:endParaRPr lang="en-US" sz="2000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BEE7E8-0C06-8F04-7B4F-76C981864D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5447" y="2016568"/>
            <a:ext cx="7158318" cy="4003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9807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5AA7F-3E53-840A-84F8-DBE749540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solu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FD3C6F-0DEC-0384-7EA2-12961462D6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intenance Plans</a:t>
            </a:r>
          </a:p>
          <a:p>
            <a:pPr lvl="1"/>
            <a:r>
              <a:rPr lang="en-US" dirty="0"/>
              <a:t>uses SSIS behind the scenes</a:t>
            </a:r>
          </a:p>
          <a:p>
            <a:pPr lvl="1"/>
            <a:r>
              <a:rPr lang="en-US" dirty="0"/>
              <a:t>allows to schedule multiple tasks, with condition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>
                <a:hlinkClick r:id="rId2"/>
              </a:rPr>
              <a:t>Ola </a:t>
            </a:r>
            <a:r>
              <a:rPr lang="en-US" dirty="0" err="1">
                <a:hlinkClick r:id="rId2"/>
              </a:rPr>
              <a:t>Hellengren’s</a:t>
            </a:r>
            <a:r>
              <a:rPr lang="en-US" dirty="0">
                <a:hlinkClick r:id="rId2"/>
              </a:rPr>
              <a:t> SQL Server Maintenance Solution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D95224-54C6-D038-A4AF-5E34E45D8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488" y="2753123"/>
            <a:ext cx="2209992" cy="23624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63AC44-713A-9852-675C-61B7BA6665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5273" y="2753123"/>
            <a:ext cx="2139895" cy="1776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57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177FC-5367-C06F-F070-AC00B143D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used index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70DF88-9756-B070-8B43-74A44E0BE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can check the usage of an index with </a:t>
            </a:r>
            <a:r>
              <a:rPr lang="da-DK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ys.dm_db_index_usage_stats</a:t>
            </a: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endParaRPr lang="da-DK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dirty="0" err="1">
                <a:highlight>
                  <a:srgbClr val="FFFFFF"/>
                </a:highlight>
                <a:hlinkClick r:id="rId2"/>
              </a:rPr>
              <a:t>sp_BlitzIndex</a:t>
            </a:r>
            <a:r>
              <a:rPr lang="nl-BE" dirty="0">
                <a:highlight>
                  <a:srgbClr val="FFFFFF"/>
                </a:highlight>
              </a:rPr>
              <a:t> ® </a:t>
            </a:r>
            <a:r>
              <a:rPr lang="en-US" dirty="0">
                <a:highlight>
                  <a:srgbClr val="FFFFFF"/>
                </a:highlight>
              </a:rPr>
              <a:t> checks for duplicate/unused indexes, wide clustering keys etc.</a:t>
            </a:r>
            <a:endParaRPr lang="nl-BE" dirty="0">
              <a:solidFill>
                <a:srgbClr val="008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9DED99-51E0-B185-0D5A-7BFECD3E58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2739" y="2062816"/>
            <a:ext cx="3668356" cy="288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091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13F13-3C0C-1264-5360-0A720B62C6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>
                <a:solidFill>
                  <a:schemeClr val="bg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569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2F54725-DB6E-98A0-7670-25009E48A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EC336D5-3FA6-49E9-81D4-514360D923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dexes are crucial for good query performance in a relational database</a:t>
            </a:r>
          </a:p>
          <a:p>
            <a:r>
              <a:rPr lang="en-US" dirty="0"/>
              <a:t>Many different types of indexes, but most important ones are:</a:t>
            </a:r>
          </a:p>
          <a:p>
            <a:pPr lvl="1"/>
            <a:r>
              <a:rPr lang="en-US" dirty="0"/>
              <a:t>clustered index (only one per table)</a:t>
            </a:r>
          </a:p>
          <a:p>
            <a:pPr lvl="1"/>
            <a:r>
              <a:rPr lang="en-US" dirty="0" err="1"/>
              <a:t>nonclustered</a:t>
            </a:r>
            <a:r>
              <a:rPr lang="en-US" dirty="0"/>
              <a:t> index</a:t>
            </a:r>
          </a:p>
          <a:p>
            <a:pPr lvl="1"/>
            <a:r>
              <a:rPr lang="en-US" dirty="0"/>
              <a:t>columnstore index</a:t>
            </a:r>
          </a:p>
          <a:p>
            <a:pPr lvl="1"/>
            <a:endParaRPr lang="en-US" dirty="0"/>
          </a:p>
          <a:p>
            <a:r>
              <a:rPr lang="en-US" dirty="0"/>
              <a:t>In modern cloud data warehouses, indexes are typically not supported</a:t>
            </a:r>
          </a:p>
          <a:p>
            <a:pPr lvl="1"/>
            <a:r>
              <a:rPr lang="en-US" dirty="0"/>
              <a:t>architecture-wise, some resemble columnstore indexes</a:t>
            </a:r>
          </a:p>
          <a:p>
            <a:pPr lvl="1"/>
            <a:endParaRPr lang="en-US" dirty="0"/>
          </a:p>
          <a:p>
            <a:r>
              <a:rPr lang="en-US" dirty="0"/>
              <a:t>Check what the options are in your type and version of database</a:t>
            </a:r>
          </a:p>
          <a:p>
            <a:r>
              <a:rPr lang="en-US" dirty="0"/>
              <a:t>Don’t forget maintenance!</a:t>
            </a:r>
            <a:endParaRPr lang="nl-BE" dirty="0"/>
          </a:p>
        </p:txBody>
      </p:sp>
      <p:pic>
        <p:nvPicPr>
          <p:cNvPr id="6" name="Picture 2" descr="index Archives - A Shot of SQLEspresso">
            <a:extLst>
              <a:ext uri="{FF2B5EF4-FFF2-40B4-BE49-F238E27FC236}">
                <a16:creationId xmlns:a16="http://schemas.microsoft.com/office/drawing/2014/main" id="{AB2BB59B-E670-C327-F7D7-958B3ACF1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927" y="4752474"/>
            <a:ext cx="1948196" cy="1926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450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86DEE-3122-2679-3621-E6F489437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C71AC-C3B4-EDF1-2034-A77A82A839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SQL Server and Azure SQL index architecture and design guide</a:t>
            </a:r>
            <a:endParaRPr lang="en-US" dirty="0"/>
          </a:p>
          <a:p>
            <a:r>
              <a:rPr lang="nl-BE" dirty="0" err="1">
                <a:hlinkClick r:id="rId3"/>
              </a:rPr>
              <a:t>Indexes</a:t>
            </a:r>
            <a:r>
              <a:rPr lang="nl-BE" dirty="0">
                <a:hlinkClick r:id="rId3"/>
              </a:rPr>
              <a:t> on MS </a:t>
            </a:r>
            <a:r>
              <a:rPr lang="nl-BE" dirty="0" err="1">
                <a:hlinkClick r:id="rId3"/>
              </a:rPr>
              <a:t>Learn</a:t>
            </a:r>
            <a:endParaRPr lang="nl-BE" dirty="0"/>
          </a:p>
          <a:p>
            <a:r>
              <a:rPr lang="nl-BE" dirty="0" err="1">
                <a:hlinkClick r:id="rId4"/>
              </a:rPr>
              <a:t>Clustere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an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nonclustered</a:t>
            </a:r>
            <a:r>
              <a:rPr lang="nl-BE" dirty="0">
                <a:hlinkClick r:id="rId4"/>
              </a:rPr>
              <a:t> </a:t>
            </a:r>
            <a:r>
              <a:rPr lang="nl-BE" dirty="0" err="1">
                <a:hlinkClick r:id="rId4"/>
              </a:rPr>
              <a:t>indexes</a:t>
            </a:r>
            <a:endParaRPr lang="nl-BE" dirty="0"/>
          </a:p>
          <a:p>
            <a:r>
              <a:rPr lang="en-US" dirty="0">
                <a:hlinkClick r:id="rId5"/>
              </a:rPr>
              <a:t>SQL Server Clustered Indexes internals with examples</a:t>
            </a:r>
            <a:endParaRPr lang="en-US" dirty="0"/>
          </a:p>
          <a:p>
            <a:r>
              <a:rPr lang="en-US" dirty="0">
                <a:hlinkClick r:id="rId6"/>
              </a:rPr>
              <a:t>Columnstore Indexes</a:t>
            </a:r>
            <a:endParaRPr lang="en-US" dirty="0"/>
          </a:p>
          <a:p>
            <a:r>
              <a:rPr lang="en-US" dirty="0">
                <a:hlinkClick r:id="rId7"/>
              </a:rPr>
              <a:t>JSON indexes in SQL Server: First impressions</a:t>
            </a:r>
            <a:endParaRPr lang="en-US" dirty="0"/>
          </a:p>
          <a:p>
            <a:r>
              <a:rPr lang="nl-BE" dirty="0">
                <a:hlinkClick r:id="rId8"/>
              </a:rPr>
              <a:t>https://ola.hallengren.com/</a:t>
            </a:r>
            <a:endParaRPr lang="nl-BE" dirty="0"/>
          </a:p>
          <a:p>
            <a:r>
              <a:rPr lang="nl-BE" dirty="0">
                <a:hlinkClick r:id="rId9"/>
              </a:rPr>
              <a:t>Free First </a:t>
            </a:r>
            <a:r>
              <a:rPr lang="nl-BE" dirty="0" err="1">
                <a:hlinkClick r:id="rId9"/>
              </a:rPr>
              <a:t>Responder</a:t>
            </a:r>
            <a:r>
              <a:rPr lang="nl-BE" dirty="0">
                <a:hlinkClick r:id="rId9"/>
              </a:rPr>
              <a:t> Kit</a:t>
            </a:r>
            <a:endParaRPr lang="nl-BE" dirty="0"/>
          </a:p>
        </p:txBody>
      </p:sp>
      <p:pic>
        <p:nvPicPr>
          <p:cNvPr id="4" name="Picture 2">
            <a:hlinkClick r:id="rId10"/>
            <a:extLst>
              <a:ext uri="{FF2B5EF4-FFF2-40B4-BE49-F238E27FC236}">
                <a16:creationId xmlns:a16="http://schemas.microsoft.com/office/drawing/2014/main" id="{14A5ABB3-73E7-806E-1D7E-177B3D887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81" y="1119950"/>
            <a:ext cx="1946163" cy="2776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hlinkClick r:id="rId12"/>
            <a:extLst>
              <a:ext uri="{FF2B5EF4-FFF2-40B4-BE49-F238E27FC236}">
                <a16:creationId xmlns:a16="http://schemas.microsoft.com/office/drawing/2014/main" id="{DD35C7ED-633D-E93C-D1B3-9A52D6515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81" y="4063540"/>
            <a:ext cx="1943461" cy="2397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972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17D31B-F838-CE4B-1758-A8416EEF1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es are …</a:t>
            </a:r>
            <a:endParaRPr lang="nl-BE" dirty="0"/>
          </a:p>
        </p:txBody>
      </p:sp>
      <p:pic>
        <p:nvPicPr>
          <p:cNvPr id="6" name="Picture 2" descr="index Archives - A Shot of SQLEspresso">
            <a:extLst>
              <a:ext uri="{FF2B5EF4-FFF2-40B4-BE49-F238E27FC236}">
                <a16:creationId xmlns:a16="http://schemas.microsoft.com/office/drawing/2014/main" id="{9326031F-D490-917A-6AF0-341C1AAAC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339" y="1457011"/>
            <a:ext cx="5281321" cy="522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437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78C225-F05A-A745-B281-72654431C7FC}"/>
              </a:ext>
            </a:extLst>
          </p:cNvPr>
          <p:cNvSpPr/>
          <p:nvPr/>
        </p:nvSpPr>
        <p:spPr>
          <a:xfrm>
            <a:off x="778933" y="3508022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BE" sz="1600" dirty="0"/>
              <a:t>www.ae.be</a:t>
            </a:r>
            <a:br>
              <a:rPr lang="en-BE" sz="1600" dirty="0"/>
            </a:br>
            <a:r>
              <a:rPr lang="en-BE" sz="1600" dirty="0"/>
              <a:t>inspire@ae.be</a:t>
            </a:r>
            <a:br>
              <a:rPr lang="en-BE" sz="1600" dirty="0"/>
            </a:br>
            <a:br>
              <a:rPr lang="en-BE" sz="1600" dirty="0"/>
            </a:br>
            <a:r>
              <a:rPr lang="en-BE" sz="1600" dirty="0"/>
              <a:t>+32 16 39 30 60</a:t>
            </a:r>
          </a:p>
          <a:p>
            <a:r>
              <a:rPr lang="en-BE" sz="1600" dirty="0"/>
              <a:t>Interleuvenlaan 27b</a:t>
            </a:r>
          </a:p>
          <a:p>
            <a:r>
              <a:rPr lang="en-BE" sz="1600" dirty="0"/>
              <a:t>3001 Heverlee</a:t>
            </a:r>
          </a:p>
        </p:txBody>
      </p:sp>
      <p:pic>
        <p:nvPicPr>
          <p:cNvPr id="3" name="Picture 2" descr="A qr code on a red background&#10;&#10;AI-generated content may be incorrect.">
            <a:extLst>
              <a:ext uri="{FF2B5EF4-FFF2-40B4-BE49-F238E27FC236}">
                <a16:creationId xmlns:a16="http://schemas.microsoft.com/office/drawing/2014/main" id="{5272CA42-8A34-782D-1DD0-A6404DDBF6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37" t="37500" r="26759" b="15926"/>
          <a:stretch>
            <a:fillRect/>
          </a:stretch>
        </p:blipFill>
        <p:spPr>
          <a:xfrm>
            <a:off x="8934450" y="4240896"/>
            <a:ext cx="2294657" cy="2313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0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2C13BF-25E2-7F07-3995-A95D902A38C6}"/>
              </a:ext>
            </a:extLst>
          </p:cNvPr>
          <p:cNvSpPr txBox="1"/>
          <p:nvPr/>
        </p:nvSpPr>
        <p:spPr>
          <a:xfrm>
            <a:off x="2421261" y="166226"/>
            <a:ext cx="8570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5400" b="1" dirty="0" err="1">
                <a:latin typeface="Work Sans" pitchFamily="2" charset="0"/>
              </a:rPr>
              <a:t>Session</a:t>
            </a:r>
            <a:r>
              <a:rPr lang="nl-BE" sz="5400" b="1" dirty="0">
                <a:latin typeface="Work Sans" pitchFamily="2" charset="0"/>
              </a:rPr>
              <a:t> Feedback</a:t>
            </a:r>
            <a:r>
              <a:rPr lang="en-US" sz="5400" b="1" dirty="0">
                <a:latin typeface="Work Sans" pitchFamily="2" charset="0"/>
              </a:rPr>
              <a:t>💖</a:t>
            </a:r>
            <a:endParaRPr lang="LID4096" sz="5400" b="1" dirty="0">
              <a:latin typeface="Work Sans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028A06-C8FF-8437-6D15-1A5910BBB805}"/>
              </a:ext>
            </a:extLst>
          </p:cNvPr>
          <p:cNvSpPr txBox="1"/>
          <p:nvPr/>
        </p:nvSpPr>
        <p:spPr>
          <a:xfrm>
            <a:off x="923925" y="5414501"/>
            <a:ext cx="1052990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LID4096" sz="4000" b="1" dirty="0"/>
              <a:t>https://bit.ly/dMC202</a:t>
            </a:r>
            <a:r>
              <a:rPr lang="nl-BE" sz="4000" b="1" dirty="0"/>
              <a:t>5</a:t>
            </a:r>
            <a:r>
              <a:rPr lang="LID4096" sz="4000" b="1" dirty="0"/>
              <a:t>_SessionFeedback</a:t>
            </a:r>
          </a:p>
        </p:txBody>
      </p:sp>
      <p:pic>
        <p:nvPicPr>
          <p:cNvPr id="4" name="Picture 3" descr="A logo with a circle and a greek key&#10;&#10;AI-generated content may be incorrect.">
            <a:extLst>
              <a:ext uri="{FF2B5EF4-FFF2-40B4-BE49-F238E27FC236}">
                <a16:creationId xmlns:a16="http://schemas.microsoft.com/office/drawing/2014/main" id="{AAA937FF-89F3-DAFD-FAF1-664134B789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878" y="166226"/>
            <a:ext cx="927242" cy="923330"/>
          </a:xfrm>
          <a:prstGeom prst="rect">
            <a:avLst/>
          </a:prstGeom>
        </p:spPr>
      </p:pic>
      <p:pic>
        <p:nvPicPr>
          <p:cNvPr id="9" name="Picture 8" descr="A qr code on a red background&#10;&#10;AI-generated content may be incorrect.">
            <a:extLst>
              <a:ext uri="{FF2B5EF4-FFF2-40B4-BE49-F238E27FC236}">
                <a16:creationId xmlns:a16="http://schemas.microsoft.com/office/drawing/2014/main" id="{939E7127-767A-F0C3-DE5B-776609FDD6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37" t="37500" r="26759" b="15926"/>
          <a:stretch>
            <a:fillRect/>
          </a:stretch>
        </p:blipFill>
        <p:spPr>
          <a:xfrm>
            <a:off x="4706217" y="2028077"/>
            <a:ext cx="2779565" cy="280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e Car Racing photo and picture">
            <a:extLst>
              <a:ext uri="{FF2B5EF4-FFF2-40B4-BE49-F238E27FC236}">
                <a16:creationId xmlns:a16="http://schemas.microsoft.com/office/drawing/2014/main" id="{8188F434-97FD-D585-6143-E4E4408BF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12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99BB81-FA5B-9B28-0F71-28B5C1575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890E"/>
                </a:solidFill>
              </a:rPr>
              <a:t>they make stuff go faster in your database</a:t>
            </a:r>
            <a:endParaRPr lang="nl-BE" sz="3600" dirty="0">
              <a:solidFill>
                <a:srgbClr val="FF890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C1264-644C-91DA-C329-FB67D9CF643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39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D8944-B4BB-3BD7-2CAA-FAD471B19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Free Traffic City photo and picture">
            <a:extLst>
              <a:ext uri="{FF2B5EF4-FFF2-40B4-BE49-F238E27FC236}">
                <a16:creationId xmlns:a16="http://schemas.microsoft.com/office/drawing/2014/main" id="{0A1A638B-4747-D324-FD88-C13DFFD0E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38763"/>
            <a:ext cx="12192000" cy="8096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6271E-5AC9-1B12-73F6-7777EDD47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rgbClr val="FF890E"/>
                </a:solidFill>
              </a:rPr>
              <a:t>… but not always</a:t>
            </a:r>
            <a:endParaRPr lang="nl-BE" sz="3600" dirty="0">
              <a:solidFill>
                <a:srgbClr val="FF890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DFF571-51D0-6323-EA45-BA9A9175933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/>
          <a:lstStyle/>
          <a:p>
            <a:fld id="{C0B2EF14-4A5E-9745-A203-CFD06475368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9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2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3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4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5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6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ppt/theme/themeOverride7.xml><?xml version="1.0" encoding="utf-8"?>
<a:themeOverride xmlns:a="http://schemas.openxmlformats.org/drawingml/2006/main">
  <a:clrScheme name="AE">
    <a:dk1>
      <a:sysClr val="windowText" lastClr="000000"/>
    </a:dk1>
    <a:lt1>
      <a:sysClr val="window" lastClr="FFFFFF"/>
    </a:lt1>
    <a:dk2>
      <a:srgbClr val="7F7F7F"/>
    </a:dk2>
    <a:lt2>
      <a:srgbClr val="F2F2F2"/>
    </a:lt2>
    <a:accent1>
      <a:srgbClr val="FF8C00"/>
    </a:accent1>
    <a:accent2>
      <a:srgbClr val="FF4B28"/>
    </a:accent2>
    <a:accent3>
      <a:srgbClr val="FFBF09"/>
    </a:accent3>
    <a:accent4>
      <a:srgbClr val="D20046"/>
    </a:accent4>
    <a:accent5>
      <a:srgbClr val="71012E"/>
    </a:accent5>
    <a:accent6>
      <a:srgbClr val="000000"/>
    </a:accent6>
    <a:hlink>
      <a:srgbClr val="FF8C00"/>
    </a:hlink>
    <a:folHlink>
      <a:srgbClr val="FF4B2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b56b28d-ece3-4522-8ec4-6f9f6a9f9ff3" xsi:nil="true"/>
    <lcf76f155ced4ddcb4097134ff3c332f xmlns="01f695ba-a536-45c9-9141-7a91830fcb8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92D013FB28F449BE60DEFAB0503152" ma:contentTypeVersion="11" ma:contentTypeDescription="Create a new document." ma:contentTypeScope="" ma:versionID="b5a8825dcd167efb2322861478467af6">
  <xsd:schema xmlns:xsd="http://www.w3.org/2001/XMLSchema" xmlns:xs="http://www.w3.org/2001/XMLSchema" xmlns:p="http://schemas.microsoft.com/office/2006/metadata/properties" xmlns:ns2="01f695ba-a536-45c9-9141-7a91830fcb89" xmlns:ns3="0b56b28d-ece3-4522-8ec4-6f9f6a9f9ff3" targetNamespace="http://schemas.microsoft.com/office/2006/metadata/properties" ma:root="true" ma:fieldsID="577d0c7bdcbf6363f5e3d05fbbc1ae17" ns2:_="" ns3:_="">
    <xsd:import namespace="01f695ba-a536-45c9-9141-7a91830fcb89"/>
    <xsd:import namespace="0b56b28d-ece3-4522-8ec4-6f9f6a9f9f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695ba-a536-45c9-9141-7a91830fcb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1001965-50d6-45bd-af63-f406dbfd6e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56b28d-ece3-4522-8ec4-6f9f6a9f9ff3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f89d6cb-3a51-42ab-a737-ca217b34f46e}" ma:internalName="TaxCatchAll" ma:showField="CatchAllData" ma:web="0b56b28d-ece3-4522-8ec4-6f9f6a9f9f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0F647A-7FB0-42AB-A6C2-343B4E22EC38}">
  <ds:schemaRefs>
    <ds:schemaRef ds:uri="http://purl.org/dc/dcmitype/"/>
    <ds:schemaRef ds:uri="01f695ba-a536-45c9-9141-7a91830fcb89"/>
    <ds:schemaRef ds:uri="0b56b28d-ece3-4522-8ec4-6f9f6a9f9ff3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CFE0DA9-5995-4A0B-817F-274C00AE75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D1410D-4430-4433-BCA4-AC5F431E6D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695ba-a536-45c9-9141-7a91830fcb89"/>
    <ds:schemaRef ds:uri="0b56b28d-ece3-4522-8ec4-6f9f6a9f9f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84</TotalTime>
  <Words>2862</Words>
  <Application>Microsoft Office PowerPoint</Application>
  <PresentationFormat>Widescreen</PresentationFormat>
  <Paragraphs>783</Paragraphs>
  <Slides>71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85" baseType="lpstr">
      <vt:lpstr>Arial</vt:lpstr>
      <vt:lpstr>Calibri</vt:lpstr>
      <vt:lpstr>Calibri Light</vt:lpstr>
      <vt:lpstr>Cascadia Mono</vt:lpstr>
      <vt:lpstr>Century Gothic</vt:lpstr>
      <vt:lpstr>Century Gothic Bold</vt:lpstr>
      <vt:lpstr>Consolas</vt:lpstr>
      <vt:lpstr>Segoe UI Light</vt:lpstr>
      <vt:lpstr>Wingdings</vt:lpstr>
      <vt:lpstr>Work Sans</vt:lpstr>
      <vt:lpstr>AE Template</vt:lpstr>
      <vt:lpstr>Office Theme</vt:lpstr>
      <vt:lpstr>1_AE Template</vt:lpstr>
      <vt:lpstr>think-cell Slide</vt:lpstr>
      <vt:lpstr>Indexing for Dummies</vt:lpstr>
      <vt:lpstr>PowerPoint Presentation</vt:lpstr>
      <vt:lpstr>Contact</vt:lpstr>
      <vt:lpstr>Merch</vt:lpstr>
      <vt:lpstr>Outline</vt:lpstr>
      <vt:lpstr>What are indexes?</vt:lpstr>
      <vt:lpstr>Indexes are …</vt:lpstr>
      <vt:lpstr>they make stuff go faster in your database</vt:lpstr>
      <vt:lpstr>… but not always</vt:lpstr>
      <vt:lpstr>An index is an on-disk or in-memory structure associated with a table or view that speeds retrieval of rows from the table or view</vt:lpstr>
      <vt:lpstr>Clustered Indexes</vt:lpstr>
      <vt:lpstr>PowerPoint Presentation</vt:lpstr>
      <vt:lpstr>PowerPoint Presentation</vt:lpstr>
      <vt:lpstr>the clustered index IS THE TABLE</vt:lpstr>
      <vt:lpstr>PowerPoint Presentation</vt:lpstr>
      <vt:lpstr>PowerPoint Presentation</vt:lpstr>
      <vt:lpstr>PowerPoint Presentation</vt:lpstr>
      <vt:lpstr>PowerPoint Presentation</vt:lpstr>
      <vt:lpstr>Syntax</vt:lpstr>
      <vt:lpstr>PowerPoint Presentation</vt:lpstr>
      <vt:lpstr>PowerPoint Presentation</vt:lpstr>
      <vt:lpstr>Characteristics of a clustered index</vt:lpstr>
      <vt:lpstr>Nonclustered Indexes</vt:lpstr>
      <vt:lpstr>PowerPoint Presentation</vt:lpstr>
      <vt:lpstr>PowerPoint Presentation</vt:lpstr>
      <vt:lpstr>Basic syntax</vt:lpstr>
      <vt:lpstr>Characteristics of a nonclustered index</vt:lpstr>
      <vt:lpstr>What is a covering index?</vt:lpstr>
      <vt:lpstr>INCLUDE columns to the rescue!</vt:lpstr>
      <vt:lpstr>PowerPoint Presentation</vt:lpstr>
      <vt:lpstr>CI keys are in every NCI</vt:lpstr>
      <vt:lpstr>NCI Tips &amp; Tricks</vt:lpstr>
      <vt:lpstr>NCI Tips &amp; Tricks</vt:lpstr>
      <vt:lpstr>NCI Tips &amp; Tricks</vt:lpstr>
      <vt:lpstr>PowerPoint Presentation</vt:lpstr>
      <vt:lpstr>NCI Tips &amp; Tricks</vt:lpstr>
      <vt:lpstr>PowerPoint Presentation</vt:lpstr>
      <vt:lpstr>NCI Tips &amp; Tricks</vt:lpstr>
      <vt:lpstr>Other Indexes</vt:lpstr>
      <vt:lpstr>Rowstore index</vt:lpstr>
      <vt:lpstr>Columnstore index - less I/O</vt:lpstr>
      <vt:lpstr>Columnstore index syntax</vt:lpstr>
      <vt:lpstr>Columnstore index - internals</vt:lpstr>
      <vt:lpstr>Columnstore index - internals</vt:lpstr>
      <vt:lpstr>Columnstore index - segment elimination</vt:lpstr>
      <vt:lpstr>Columnstore index - segment elimination</vt:lpstr>
      <vt:lpstr>Batch mode FTW</vt:lpstr>
      <vt:lpstr>Columnstore index</vt:lpstr>
      <vt:lpstr>Lesser-known index types</vt:lpstr>
      <vt:lpstr>Lesser-known index types</vt:lpstr>
      <vt:lpstr>The new kid on the block: JSON index</vt:lpstr>
      <vt:lpstr>JSON index</vt:lpstr>
      <vt:lpstr>JSON index</vt:lpstr>
      <vt:lpstr>Indexes in Other Engines</vt:lpstr>
      <vt:lpstr>All the indexes we’ve seen so far…</vt:lpstr>
      <vt:lpstr>Synapse Dedicated SQL Pool</vt:lpstr>
      <vt:lpstr>Dedicated SQL Pool - Distribution</vt:lpstr>
      <vt:lpstr>Dedicated SQL Pool - Distribution</vt:lpstr>
      <vt:lpstr>Dedicated SQL Pool - Constraints</vt:lpstr>
      <vt:lpstr>Fabric Warehouse</vt:lpstr>
      <vt:lpstr>Cosmos DB</vt:lpstr>
      <vt:lpstr>Maintenance</vt:lpstr>
      <vt:lpstr>Index Fragmentation</vt:lpstr>
      <vt:lpstr>Index Fragmentation</vt:lpstr>
      <vt:lpstr>Automated solutions</vt:lpstr>
      <vt:lpstr>Unused indexes</vt:lpstr>
      <vt:lpstr>Conclusion</vt:lpstr>
      <vt:lpstr>Conclusion</vt:lpstr>
      <vt:lpstr>Resourc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89</cp:revision>
  <dcterms:created xsi:type="dcterms:W3CDTF">2019-03-20T20:18:18Z</dcterms:created>
  <dcterms:modified xsi:type="dcterms:W3CDTF">2025-10-04T13:3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2D013FB28F449BE60DEFAB0503152</vt:lpwstr>
  </property>
  <property fmtid="{D5CDD505-2E9C-101B-9397-08002B2CF9AE}" pid="3" name="MediaServiceImageTags">
    <vt:lpwstr/>
  </property>
</Properties>
</file>